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5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72" r:id="rId2"/>
    <p:sldMasterId id="2147483698" r:id="rId3"/>
    <p:sldMasterId id="2147483712" r:id="rId4"/>
  </p:sldMasterIdLst>
  <p:notesMasterIdLst>
    <p:notesMasterId r:id="rId10"/>
  </p:notesMasterIdLst>
  <p:sldIdLst>
    <p:sldId id="280" r:id="rId5"/>
    <p:sldId id="315" r:id="rId6"/>
    <p:sldId id="327" r:id="rId7"/>
    <p:sldId id="328" r:id="rId8"/>
    <p:sldId id="308" r:id="rId9"/>
  </p:sldIdLst>
  <p:sldSz cx="12192000" cy="6858000"/>
  <p:notesSz cx="6858000" cy="9144000"/>
  <p:custDataLst>
    <p:tags r:id="rId1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0021"/>
    <a:srgbClr val="130263"/>
    <a:srgbClr val="E6E6E6"/>
    <a:srgbClr val="384251"/>
    <a:srgbClr val="5096C9"/>
    <a:srgbClr val="0606FA"/>
    <a:srgbClr val="B2AEB2"/>
    <a:srgbClr val="BEBA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84" autoAdjust="0"/>
    <p:restoredTop sz="89885" autoAdjust="0"/>
  </p:normalViewPr>
  <p:slideViewPr>
    <p:cSldViewPr snapToGrid="0">
      <p:cViewPr varScale="1">
        <p:scale>
          <a:sx n="103" d="100"/>
          <a:sy n="103" d="100"/>
        </p:scale>
        <p:origin x="99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 /><Relationship Id="rId13" Type="http://schemas.openxmlformats.org/officeDocument/2006/relationships/viewProps" Target="viewProps.xml" /><Relationship Id="rId3" Type="http://schemas.openxmlformats.org/officeDocument/2006/relationships/slideMaster" Target="slideMasters/slideMaster3.xml" /><Relationship Id="rId7" Type="http://schemas.openxmlformats.org/officeDocument/2006/relationships/slide" Target="slides/slide3.xml" /><Relationship Id="rId12" Type="http://schemas.openxmlformats.org/officeDocument/2006/relationships/presProps" Target="presProps.xml" /><Relationship Id="rId2" Type="http://schemas.openxmlformats.org/officeDocument/2006/relationships/slideMaster" Target="slideMasters/slideMaster2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2.xml" /><Relationship Id="rId11" Type="http://schemas.openxmlformats.org/officeDocument/2006/relationships/tags" Target="tags/tag1.xml" /><Relationship Id="rId5" Type="http://schemas.openxmlformats.org/officeDocument/2006/relationships/slide" Target="slides/slide1.xml" /><Relationship Id="rId15" Type="http://schemas.openxmlformats.org/officeDocument/2006/relationships/tableStyles" Target="tableStyles.xml" /><Relationship Id="rId10" Type="http://schemas.openxmlformats.org/officeDocument/2006/relationships/notesMaster" Target="notesMasters/notesMaster1.xml" /><Relationship Id="rId4" Type="http://schemas.openxmlformats.org/officeDocument/2006/relationships/slideMaster" Target="slideMasters/slideMaster4.xml" /><Relationship Id="rId9" Type="http://schemas.openxmlformats.org/officeDocument/2006/relationships/slide" Target="slides/slide5.xml" /><Relationship Id="rId14" Type="http://schemas.openxmlformats.org/officeDocument/2006/relationships/theme" Target="theme/theme1.xml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 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 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 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 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C75FBD-F4CB-49AB-8F82-AB137DDD0F60}" type="datetimeFigureOut">
              <a:rPr lang="ru-RU" smtClean="0"/>
              <a:t>06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A8EBEA-13C5-4146-9CF8-BA7064D0ED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6775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99837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A8EBEA-13C5-4146-9CF8-BA7064D0ED81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40856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A8EBEA-13C5-4146-9CF8-BA7064D0ED81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28030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A8EBEA-13C5-4146-9CF8-BA7064D0ED81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29546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4268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2.xml" 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2.xml" 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2.xml" 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2.xml" 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2.xml" 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 /><Relationship Id="rId2" Type="http://schemas.openxmlformats.org/officeDocument/2006/relationships/image" Target="../media/image12.png" /><Relationship Id="rId1" Type="http://schemas.openxmlformats.org/officeDocument/2006/relationships/slideMaster" Target="../slideMasters/slideMaster2.xml" 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2.xml" 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 /><Relationship Id="rId3" Type="http://schemas.openxmlformats.org/officeDocument/2006/relationships/slideMaster" Target="../slideMasters/slideMaster3.xml" /><Relationship Id="rId7" Type="http://schemas.openxmlformats.org/officeDocument/2006/relationships/image" Target="../media/image2.png" /><Relationship Id="rId2" Type="http://schemas.openxmlformats.org/officeDocument/2006/relationships/tags" Target="../tags/tag7.xml" /><Relationship Id="rId1" Type="http://schemas.openxmlformats.org/officeDocument/2006/relationships/vmlDrawing" Target="../drawings/vmlDrawing4.vml" /><Relationship Id="rId6" Type="http://schemas.openxmlformats.org/officeDocument/2006/relationships/image" Target="../media/image4.png" /><Relationship Id="rId5" Type="http://schemas.openxmlformats.org/officeDocument/2006/relationships/image" Target="../media/image15.emf" /><Relationship Id="rId4" Type="http://schemas.openxmlformats.org/officeDocument/2006/relationships/oleObject" Target="../embeddings/oleObject4.bin" 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 /><Relationship Id="rId2" Type="http://schemas.openxmlformats.org/officeDocument/2006/relationships/tags" Target="../tags/tag8.xml" /><Relationship Id="rId1" Type="http://schemas.openxmlformats.org/officeDocument/2006/relationships/vmlDrawing" Target="../drawings/vmlDrawing5.vml" /><Relationship Id="rId5" Type="http://schemas.openxmlformats.org/officeDocument/2006/relationships/image" Target="../media/image15.emf" /><Relationship Id="rId4" Type="http://schemas.openxmlformats.org/officeDocument/2006/relationships/oleObject" Target="../embeddings/oleObject5.bin" 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 /><Relationship Id="rId2" Type="http://schemas.openxmlformats.org/officeDocument/2006/relationships/tags" Target="../tags/tag9.xml" /><Relationship Id="rId1" Type="http://schemas.openxmlformats.org/officeDocument/2006/relationships/vmlDrawing" Target="../drawings/vmlDrawing6.vml" /><Relationship Id="rId5" Type="http://schemas.openxmlformats.org/officeDocument/2006/relationships/image" Target="../media/image15.emf" /><Relationship Id="rId4" Type="http://schemas.openxmlformats.org/officeDocument/2006/relationships/oleObject" Target="../embeddings/oleObject6.bin" 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 /><Relationship Id="rId2" Type="http://schemas.openxmlformats.org/officeDocument/2006/relationships/tags" Target="../tags/tag10.xml" /><Relationship Id="rId1" Type="http://schemas.openxmlformats.org/officeDocument/2006/relationships/vmlDrawing" Target="../drawings/vmlDrawing7.vml" /><Relationship Id="rId5" Type="http://schemas.openxmlformats.org/officeDocument/2006/relationships/image" Target="../media/image15.emf" /><Relationship Id="rId4" Type="http://schemas.openxmlformats.org/officeDocument/2006/relationships/oleObject" Target="../embeddings/oleObject7.bin" 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 /><Relationship Id="rId2" Type="http://schemas.openxmlformats.org/officeDocument/2006/relationships/tags" Target="../tags/tag11.xml" /><Relationship Id="rId1" Type="http://schemas.openxmlformats.org/officeDocument/2006/relationships/vmlDrawing" Target="../drawings/vmlDrawing8.vml" /><Relationship Id="rId5" Type="http://schemas.openxmlformats.org/officeDocument/2006/relationships/image" Target="../media/image15.emf" /><Relationship Id="rId4" Type="http://schemas.openxmlformats.org/officeDocument/2006/relationships/oleObject" Target="../embeddings/oleObject8.bin" 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1.xml" 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 /><Relationship Id="rId2" Type="http://schemas.openxmlformats.org/officeDocument/2006/relationships/tags" Target="../tags/tag12.xml" /><Relationship Id="rId1" Type="http://schemas.openxmlformats.org/officeDocument/2006/relationships/vmlDrawing" Target="../drawings/vmlDrawing9.vml" /><Relationship Id="rId5" Type="http://schemas.openxmlformats.org/officeDocument/2006/relationships/image" Target="../media/image15.emf" /><Relationship Id="rId4" Type="http://schemas.openxmlformats.org/officeDocument/2006/relationships/oleObject" Target="../embeddings/oleObject9.bin" 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 /><Relationship Id="rId2" Type="http://schemas.openxmlformats.org/officeDocument/2006/relationships/tags" Target="../tags/tag13.xml" /><Relationship Id="rId1" Type="http://schemas.openxmlformats.org/officeDocument/2006/relationships/vmlDrawing" Target="../drawings/vmlDrawing10.vml" /><Relationship Id="rId5" Type="http://schemas.openxmlformats.org/officeDocument/2006/relationships/image" Target="../media/image15.emf" /><Relationship Id="rId4" Type="http://schemas.openxmlformats.org/officeDocument/2006/relationships/oleObject" Target="../embeddings/oleObject10.bin" 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 /><Relationship Id="rId2" Type="http://schemas.openxmlformats.org/officeDocument/2006/relationships/tags" Target="../tags/tag14.xml" /><Relationship Id="rId1" Type="http://schemas.openxmlformats.org/officeDocument/2006/relationships/vmlDrawing" Target="../drawings/vmlDrawing11.vml" /><Relationship Id="rId5" Type="http://schemas.openxmlformats.org/officeDocument/2006/relationships/image" Target="../media/image15.emf" /><Relationship Id="rId4" Type="http://schemas.openxmlformats.org/officeDocument/2006/relationships/oleObject" Target="../embeddings/oleObject11.bin" 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 /><Relationship Id="rId2" Type="http://schemas.openxmlformats.org/officeDocument/2006/relationships/tags" Target="../tags/tag15.xml" /><Relationship Id="rId1" Type="http://schemas.openxmlformats.org/officeDocument/2006/relationships/vmlDrawing" Target="../drawings/vmlDrawing12.vml" /><Relationship Id="rId5" Type="http://schemas.openxmlformats.org/officeDocument/2006/relationships/image" Target="../media/image15.emf" /><Relationship Id="rId4" Type="http://schemas.openxmlformats.org/officeDocument/2006/relationships/oleObject" Target="../embeddings/oleObject12.bin" 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 /><Relationship Id="rId2" Type="http://schemas.openxmlformats.org/officeDocument/2006/relationships/image" Target="../media/image10.png" /><Relationship Id="rId1" Type="http://schemas.openxmlformats.org/officeDocument/2006/relationships/slideMaster" Target="../slideMasters/slideMaster3.xml" 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 /><Relationship Id="rId2" Type="http://schemas.openxmlformats.org/officeDocument/2006/relationships/image" Target="../media/image17.jpeg" /><Relationship Id="rId1" Type="http://schemas.openxmlformats.org/officeDocument/2006/relationships/slideMaster" Target="../slideMasters/slideMaster3.xml" 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 /><Relationship Id="rId7" Type="http://schemas.openxmlformats.org/officeDocument/2006/relationships/image" Target="../media/image20.png" /><Relationship Id="rId2" Type="http://schemas.openxmlformats.org/officeDocument/2006/relationships/tags" Target="../tags/tag16.xml" /><Relationship Id="rId1" Type="http://schemas.openxmlformats.org/officeDocument/2006/relationships/vmlDrawing" Target="../drawings/vmlDrawing13.vml" /><Relationship Id="rId6" Type="http://schemas.openxmlformats.org/officeDocument/2006/relationships/image" Target="../media/image19.emf" /><Relationship Id="rId5" Type="http://schemas.openxmlformats.org/officeDocument/2006/relationships/oleObject" Target="../embeddings/oleObject13.bin" /><Relationship Id="rId4" Type="http://schemas.openxmlformats.org/officeDocument/2006/relationships/slideMaster" Target="../slideMasters/slideMaster3.xml" 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 /><Relationship Id="rId2" Type="http://schemas.openxmlformats.org/officeDocument/2006/relationships/image" Target="../media/image21.jpeg" /><Relationship Id="rId1" Type="http://schemas.openxmlformats.org/officeDocument/2006/relationships/slideMaster" Target="../slideMasters/slideMaster3.xml" 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4.xml" 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4.xml" 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5.jpeg" /><Relationship Id="rId1" Type="http://schemas.openxmlformats.org/officeDocument/2006/relationships/slideMaster" Target="../slideMasters/slideMaster1.xml" /><Relationship Id="rId5" Type="http://schemas.openxmlformats.org/officeDocument/2006/relationships/image" Target="../media/image6.png" /><Relationship Id="rId4" Type="http://schemas.openxmlformats.org/officeDocument/2006/relationships/image" Target="../media/image3.svg" 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4.xml" 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4.xml" 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5.jpeg" /><Relationship Id="rId1" Type="http://schemas.openxmlformats.org/officeDocument/2006/relationships/slideMaster" Target="../slideMasters/slideMaster4.xml" /><Relationship Id="rId5" Type="http://schemas.openxmlformats.org/officeDocument/2006/relationships/image" Target="../media/image6.png" /><Relationship Id="rId4" Type="http://schemas.openxmlformats.org/officeDocument/2006/relationships/image" Target="../media/image3.svg" 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7.jpeg" /><Relationship Id="rId1" Type="http://schemas.openxmlformats.org/officeDocument/2006/relationships/slideMaster" Target="../slideMasters/slideMaster4.xml" /><Relationship Id="rId5" Type="http://schemas.openxmlformats.org/officeDocument/2006/relationships/image" Target="../media/image6.png" /><Relationship Id="rId4" Type="http://schemas.openxmlformats.org/officeDocument/2006/relationships/image" Target="../media/image3.svg" 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image" Target="../media/image8.jpeg" /><Relationship Id="rId1" Type="http://schemas.openxmlformats.org/officeDocument/2006/relationships/slideMaster" Target="../slideMasters/slideMaster4.xml" /><Relationship Id="rId5" Type="http://schemas.openxmlformats.org/officeDocument/2006/relationships/image" Target="../media/image3.svg" /><Relationship Id="rId4" Type="http://schemas.openxmlformats.org/officeDocument/2006/relationships/image" Target="../media/image2.png" 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image" Target="../media/image9.jpeg" /><Relationship Id="rId1" Type="http://schemas.openxmlformats.org/officeDocument/2006/relationships/slideMaster" Target="../slideMasters/slideMaster4.xml" /><Relationship Id="rId5" Type="http://schemas.openxmlformats.org/officeDocument/2006/relationships/image" Target="../media/image3.svg" /><Relationship Id="rId4" Type="http://schemas.openxmlformats.org/officeDocument/2006/relationships/image" Target="../media/image2.png" 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4.xml" /><Relationship Id="rId4" Type="http://schemas.openxmlformats.org/officeDocument/2006/relationships/image" Target="../media/image3.svg" 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7.jpeg" /><Relationship Id="rId1" Type="http://schemas.openxmlformats.org/officeDocument/2006/relationships/slideMaster" Target="../slideMasters/slideMaster1.xml" /><Relationship Id="rId5" Type="http://schemas.openxmlformats.org/officeDocument/2006/relationships/image" Target="../media/image6.png" /><Relationship Id="rId4" Type="http://schemas.openxmlformats.org/officeDocument/2006/relationships/image" Target="../media/image3.svg" 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image" Target="../media/image8.jpeg" /><Relationship Id="rId1" Type="http://schemas.openxmlformats.org/officeDocument/2006/relationships/slideMaster" Target="../slideMasters/slideMaster1.xml" /><Relationship Id="rId5" Type="http://schemas.openxmlformats.org/officeDocument/2006/relationships/image" Target="../media/image3.svg" /><Relationship Id="rId4" Type="http://schemas.openxmlformats.org/officeDocument/2006/relationships/image" Target="../media/image2.png" 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image" Target="../media/image9.jpeg" /><Relationship Id="rId1" Type="http://schemas.openxmlformats.org/officeDocument/2006/relationships/slideMaster" Target="../slideMasters/slideMaster1.xml" /><Relationship Id="rId5" Type="http://schemas.openxmlformats.org/officeDocument/2006/relationships/image" Target="../media/image3.svg" /><Relationship Id="rId4" Type="http://schemas.openxmlformats.org/officeDocument/2006/relationships/image" Target="../media/image2.png" 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1.xml" /><Relationship Id="rId4" Type="http://schemas.openxmlformats.org/officeDocument/2006/relationships/image" Target="../media/image3.svg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3816350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4F84BBB-00C0-3440-B83A-FD7821342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A0E2698-CFB4-5348-82D6-2C8B43CC18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3753845132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E91EFA-7FEC-0A43-A2D5-D22AC378C7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9300" y="2277270"/>
            <a:ext cx="10693400" cy="3816349"/>
          </a:xfrm>
        </p:spPr>
        <p:txBody>
          <a:bodyPr anchor="t"/>
          <a:lstStyle>
            <a:lvl1pPr marL="342900" indent="-3429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 marL="285750" indent="-2857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2pPr>
            <a:lvl3pPr marL="285750" indent="-2857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3pPr>
            <a:lvl4pPr marL="228600" indent="-2286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4pPr>
            <a:lvl5pPr marL="171450" indent="-1714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5D3C16F-BFD3-5C45-8A75-F945243BD0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B724BC-E703-6F48-9C51-34DA45DA1D84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81B983CD-8697-7A4C-98BF-C96A504EBB60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3C623C0-AA65-6D47-BD56-F2E05B18AD33}"/>
              </a:ext>
            </a:extLst>
          </p:cNvPr>
          <p:cNvPicPr>
            <a:picLocks noChangeAspect="1"/>
          </p:cNvPicPr>
          <p:nvPr userDrawn="1"/>
        </p:nvPicPr>
        <p:blipFill>
          <a:blip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6126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7702A768-64AA-0845-AFC5-7B7BC0178D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43" y="4510277"/>
            <a:ext cx="11490490" cy="8649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008" y="764382"/>
            <a:ext cx="5972247" cy="2810091"/>
          </a:xfrm>
          <a:prstGeom prst="rect">
            <a:avLst/>
          </a:prstGeom>
        </p:spPr>
        <p:txBody>
          <a:bodyPr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3 СТРОКИ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70</a:t>
            </a:r>
            <a:endParaRPr lang="ru-RU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1C38D33-DF10-7F4F-9209-6C64D696C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9300" y="5863608"/>
            <a:ext cx="4368800" cy="288062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1600"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8CFEDE2-8069-EF4F-AF6C-23F26EF54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300" y="4749295"/>
            <a:ext cx="4368800" cy="100255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>
              <a:defRPr sz="1600"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br>
              <a:rPr lang="ru-RU" dirty="0"/>
            </a:br>
            <a:r>
              <a:rPr lang="ru-RU" dirty="0"/>
              <a:t>ФИО и 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59268740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7A55AF-6307-8746-A13E-4985D51B595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77169" y="4241736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EA5E3BE-4FDD-6F4A-A2E2-89D975A0A63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69" y="3154906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CEBEF92-7BB0-ED4C-B41E-2510318AA13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77169" y="2073271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FEF0BC5-0AF7-2845-B87D-26245C3643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477169" y="5318175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4C112D2-12A3-1B45-9266-CAA2B0BED8B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0733" y="5318175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B937DB4-63ED-7543-8192-82719AF728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0733" y="4241736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2F3753F-635D-3544-ADC5-6F42D9E302E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0733" y="3154906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BFE42A7-031D-E843-8CBF-F9560939A7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90733" y="2073271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32" name="Title 6">
            <a:extLst>
              <a:ext uri="{FF2B5EF4-FFF2-40B4-BE49-F238E27FC236}">
                <a16:creationId xmlns:a16="http://schemas.microsoft.com/office/drawing/2014/main" id="{1CCAE8E7-5A3B-834D-AB59-BBE0C2DD3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33" name="Новый бренд МТС">
            <a:extLst>
              <a:ext uri="{FF2B5EF4-FFF2-40B4-BE49-F238E27FC236}">
                <a16:creationId xmlns:a16="http://schemas.microsoft.com/office/drawing/2014/main" id="{04448189-3372-5E4A-BB95-19CA1916B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313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4" name="Новый бренд МТС">
            <a:extLst>
              <a:ext uri="{FF2B5EF4-FFF2-40B4-BE49-F238E27FC236}">
                <a16:creationId xmlns:a16="http://schemas.microsoft.com/office/drawing/2014/main" id="{2B9FA665-6B74-6D4F-B94F-9673CBEC3B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9313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6" name="Новый бренд МТС">
            <a:extLst>
              <a:ext uri="{FF2B5EF4-FFF2-40B4-BE49-F238E27FC236}">
                <a16:creationId xmlns:a16="http://schemas.microsoft.com/office/drawing/2014/main" id="{F815A556-57BA-4D41-A36C-4503313A3E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9313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7" name="Новый бренд МТС">
            <a:extLst>
              <a:ext uri="{FF2B5EF4-FFF2-40B4-BE49-F238E27FC236}">
                <a16:creationId xmlns:a16="http://schemas.microsoft.com/office/drawing/2014/main" id="{148BE9AD-50C1-1746-AE8A-A010A0ECAD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6990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8" name="Новый бренд МТС">
            <a:extLst>
              <a:ext uri="{FF2B5EF4-FFF2-40B4-BE49-F238E27FC236}">
                <a16:creationId xmlns:a16="http://schemas.microsoft.com/office/drawing/2014/main" id="{EF0A133A-CC4C-5A40-913A-143DAA2EE6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990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9" name="Новый бренд МТС">
            <a:extLst>
              <a:ext uri="{FF2B5EF4-FFF2-40B4-BE49-F238E27FC236}">
                <a16:creationId xmlns:a16="http://schemas.microsoft.com/office/drawing/2014/main" id="{D1288B40-C5F5-4740-B182-27F8BD10238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6990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0" name="Новый бренд МТС">
            <a:extLst>
              <a:ext uri="{FF2B5EF4-FFF2-40B4-BE49-F238E27FC236}">
                <a16:creationId xmlns:a16="http://schemas.microsoft.com/office/drawing/2014/main" id="{A8529481-2954-4943-BD0D-E8A19E3530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9313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1" name="Новый бренд МТС">
            <a:extLst>
              <a:ext uri="{FF2B5EF4-FFF2-40B4-BE49-F238E27FC236}">
                <a16:creationId xmlns:a16="http://schemas.microsoft.com/office/drawing/2014/main" id="{C9C0A0F7-1904-8D48-97FD-62277BBDE0E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6990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46F529C-51FA-3145-B64E-C3C737A67DB3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43" name="Freeform 42">
            <a:extLst>
              <a:ext uri="{FF2B5EF4-FFF2-40B4-BE49-F238E27FC236}">
                <a16:creationId xmlns:a16="http://schemas.microsoft.com/office/drawing/2014/main" id="{1488D229-F48C-0948-B589-F017A9DEABB9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7141D4DC-1150-CA49-BE0F-440CD0AFF5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783535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7A55AF-6307-8746-A13E-4985D51B595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77169" y="4229100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EA5E3BE-4FDD-6F4A-A2E2-89D975A0A63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69" y="3138055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CEBEF92-7BB0-ED4C-B41E-2510318AA13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77169" y="2057400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FEF0BC5-0AF7-2845-B87D-26245C3643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477169" y="5299364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4C112D2-12A3-1B45-9266-CAA2B0BED8B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0733" y="5299364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B937DB4-63ED-7543-8192-82719AF728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0733" y="4229100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2F3753F-635D-3544-ADC5-6F42D9E302E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0733" y="3148445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BFE42A7-031D-E843-8CBF-F9560939A7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90733" y="2067791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1" name="Новый бренд МТС">
            <a:extLst>
              <a:ext uri="{FF2B5EF4-FFF2-40B4-BE49-F238E27FC236}">
                <a16:creationId xmlns:a16="http://schemas.microsoft.com/office/drawing/2014/main" id="{C4F36D7C-F143-BC42-B610-81DF4FC814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313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5" name="Новый бренд МТС">
            <a:extLst>
              <a:ext uri="{FF2B5EF4-FFF2-40B4-BE49-F238E27FC236}">
                <a16:creationId xmlns:a16="http://schemas.microsoft.com/office/drawing/2014/main" id="{1CAFD018-A154-7D45-AD61-F901157E98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9313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6" name="Новый бренд МТС">
            <a:extLst>
              <a:ext uri="{FF2B5EF4-FFF2-40B4-BE49-F238E27FC236}">
                <a16:creationId xmlns:a16="http://schemas.microsoft.com/office/drawing/2014/main" id="{D8635280-38B6-1847-83F7-39F714BDF9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9313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1" name="Новый бренд МТС">
            <a:extLst>
              <a:ext uri="{FF2B5EF4-FFF2-40B4-BE49-F238E27FC236}">
                <a16:creationId xmlns:a16="http://schemas.microsoft.com/office/drawing/2014/main" id="{0A9F586A-33B5-A94E-BDEA-7187E904EA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6990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2" name="Новый бренд МТС">
            <a:extLst>
              <a:ext uri="{FF2B5EF4-FFF2-40B4-BE49-F238E27FC236}">
                <a16:creationId xmlns:a16="http://schemas.microsoft.com/office/drawing/2014/main" id="{82BAE4F9-D929-AD41-9186-7AF86F4AF3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990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3" name="Новый бренд МТС">
            <a:extLst>
              <a:ext uri="{FF2B5EF4-FFF2-40B4-BE49-F238E27FC236}">
                <a16:creationId xmlns:a16="http://schemas.microsoft.com/office/drawing/2014/main" id="{DCBB2CB7-0122-6C47-BDC6-13F8FC6FBF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6990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4" name="Новый бренд МТС">
            <a:extLst>
              <a:ext uri="{FF2B5EF4-FFF2-40B4-BE49-F238E27FC236}">
                <a16:creationId xmlns:a16="http://schemas.microsoft.com/office/drawing/2014/main" id="{AE03A7EF-1A5A-E644-8E28-690DDDA32A5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9313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5" name="Новый бренд МТС">
            <a:extLst>
              <a:ext uri="{FF2B5EF4-FFF2-40B4-BE49-F238E27FC236}">
                <a16:creationId xmlns:a16="http://schemas.microsoft.com/office/drawing/2014/main" id="{027EAD1B-22AE-904A-8D11-6E997C5EE5F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6990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1" name="Title 6">
            <a:extLst>
              <a:ext uri="{FF2B5EF4-FFF2-40B4-BE49-F238E27FC236}">
                <a16:creationId xmlns:a16="http://schemas.microsoft.com/office/drawing/2014/main" id="{EE00DF5D-8A69-7846-9C01-595762A75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55A1A7F-CD3A-9B4F-AEDC-A12B516010C0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39" name="Freeform 38">
            <a:extLst>
              <a:ext uri="{FF2B5EF4-FFF2-40B4-BE49-F238E27FC236}">
                <a16:creationId xmlns:a16="http://schemas.microsoft.com/office/drawing/2014/main" id="{9C4D0A11-7D8B-AB47-B73A-AE41640DD91B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C79F2BD9-E64B-CD48-BDD9-E68A282CBA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020781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5847494-E511-3840-8E59-5080A956783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477169" y="2057400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B8721DB-1EFC-6147-8A6F-5FA1CCD3442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77169" y="3127664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45D13340-8F5F-B84A-905F-B28792872313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477169" y="4218710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D98452CF-E7C4-3245-9D99-8937CB49226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1477169" y="5309755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6069E9D7-4BEF-0D48-97F2-098BFE7F41D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059560" y="2057400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A697B0BE-7C51-954F-A46D-0E9302149128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059560" y="3127664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0473A790-4FBB-564E-959C-077A5EFD7B39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059560" y="4218710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935208A5-8C57-244B-B770-0FB153F58870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059560" y="5309755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21" name="Новый бренд МТС">
            <a:extLst>
              <a:ext uri="{FF2B5EF4-FFF2-40B4-BE49-F238E27FC236}">
                <a16:creationId xmlns:a16="http://schemas.microsoft.com/office/drawing/2014/main" id="{E2CEEB16-EA85-B746-92AD-6C2B21911A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313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5" name="Новый бренд МТС">
            <a:extLst>
              <a:ext uri="{FF2B5EF4-FFF2-40B4-BE49-F238E27FC236}">
                <a16:creationId xmlns:a16="http://schemas.microsoft.com/office/drawing/2014/main" id="{EA330397-865A-9B4B-8359-AA036B4A05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9313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6" name="Новый бренд МТС">
            <a:extLst>
              <a:ext uri="{FF2B5EF4-FFF2-40B4-BE49-F238E27FC236}">
                <a16:creationId xmlns:a16="http://schemas.microsoft.com/office/drawing/2014/main" id="{69325EE4-03E6-464B-9EE1-0A8C2712CA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9313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1" name="Новый бренд МТС">
            <a:extLst>
              <a:ext uri="{FF2B5EF4-FFF2-40B4-BE49-F238E27FC236}">
                <a16:creationId xmlns:a16="http://schemas.microsoft.com/office/drawing/2014/main" id="{C2114617-EB06-DD4F-AAFD-13C29F26AE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6990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2" name="Новый бренд МТС">
            <a:extLst>
              <a:ext uri="{FF2B5EF4-FFF2-40B4-BE49-F238E27FC236}">
                <a16:creationId xmlns:a16="http://schemas.microsoft.com/office/drawing/2014/main" id="{299EDD4B-1D59-CE4B-8B83-0E0BEBEDC3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990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3" name="Новый бренд МТС">
            <a:extLst>
              <a:ext uri="{FF2B5EF4-FFF2-40B4-BE49-F238E27FC236}">
                <a16:creationId xmlns:a16="http://schemas.microsoft.com/office/drawing/2014/main" id="{55C0CA29-7BFD-3B4B-893F-85B9378BD1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6990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4" name="Новый бренд МТС">
            <a:extLst>
              <a:ext uri="{FF2B5EF4-FFF2-40B4-BE49-F238E27FC236}">
                <a16:creationId xmlns:a16="http://schemas.microsoft.com/office/drawing/2014/main" id="{7D0B3219-6110-E944-BF70-0CE9FDBE0D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9313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5" name="Новый бренд МТС">
            <a:extLst>
              <a:ext uri="{FF2B5EF4-FFF2-40B4-BE49-F238E27FC236}">
                <a16:creationId xmlns:a16="http://schemas.microsoft.com/office/drawing/2014/main" id="{0C254055-F809-6448-8399-C50719EDDD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6990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BF1E6E3E-B542-7F4E-82C9-21B63DB91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A7A5B7-628D-314D-A848-9FB6FD196F3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8C4BA694-D491-274B-8818-FF6A898453C6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2A12888F-04FA-1846-BE1E-2E3FD970CD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9657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23103B6-E463-F44B-B177-DA7DEB84E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040" y="1520825"/>
            <a:ext cx="9185910" cy="3584137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7000" b="1" baseline="0"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РАЗДЕЛА</a:t>
            </a:r>
            <a:br>
              <a:rPr lang="ru-RU" dirty="0"/>
            </a:br>
            <a:r>
              <a:rPr lang="ru-RU" dirty="0"/>
              <a:t>НЕ БОЛЕЕ 4 СТРОК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70</a:t>
            </a:r>
            <a:endParaRPr lang="ru-RU" dirty="0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86FDD53E-D4FC-E342-9D4D-114A7370F9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87C472B-2AEA-A94D-AE48-B75319797AA4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676719453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8E278718-BBF2-C343-8D84-451A06BD46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34" name="Новый бренд МТС"/>
          <p:cNvSpPr>
            <a:spLocks noGrp="1"/>
          </p:cNvSpPr>
          <p:nvPr>
            <p:ph type="body" sz="quarter" idx="14"/>
          </p:nvPr>
        </p:nvSpPr>
        <p:spPr>
          <a:xfrm>
            <a:off x="1519952" y="5614347"/>
            <a:ext cx="2417650" cy="38472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9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dirty="0" err="1"/>
              <a:t>Новый</a:t>
            </a:r>
            <a:r>
              <a:rPr dirty="0"/>
              <a:t> </a:t>
            </a:r>
            <a:r>
              <a:rPr dirty="0" err="1"/>
              <a:t>бренд</a:t>
            </a:r>
            <a:r>
              <a:rPr dirty="0"/>
              <a:t> МТС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23103B6-E463-F44B-B177-DA7DEB84E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422" y="1520825"/>
            <a:ext cx="9185910" cy="2119760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7000" b="1"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РАЗДЕЛА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70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757D01-F4E0-9641-B5A6-32E5C1961159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110744804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8D1D6EA0-CEDE-D046-B9A9-C8526AC26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505B5473-A274-C340-B267-DCA3B5D50F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5300" y="764381"/>
            <a:ext cx="7633494" cy="5712619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ts val="7000"/>
              </a:lnSpc>
              <a:defRPr sz="8500" b="1"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РАЗДЕЛА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360B9-0443-5747-A0C9-77728530E6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6293" y="764382"/>
            <a:ext cx="3059906" cy="5329238"/>
          </a:xfrm>
        </p:spPr>
        <p:txBody>
          <a:bodyPr anchor="ctr">
            <a:noAutofit/>
          </a:bodyPr>
          <a:lstStyle>
            <a:lvl1pPr marL="0" marR="0" indent="0" algn="ctr" defTabSz="41275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20000" b="1" i="0" u="none" strike="noStrike" cap="none" spc="0" normalizeH="0" baseline="0" dirty="0">
                <a:ln>
                  <a:noFill/>
                </a:ln>
                <a:solidFill>
                  <a:srgbClr val="E3061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  <a:sym typeface="Helvetica Neue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EF0C08-AFCB-9B48-9778-2E65D107249C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062715954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E91EFA-7FEC-0A43-A2D5-D22AC378C7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9300" y="2277270"/>
            <a:ext cx="10693400" cy="3816349"/>
          </a:xfrm>
        </p:spPr>
        <p:txBody>
          <a:bodyPr anchor="t"/>
          <a:lstStyle>
            <a:lvl1pPr marL="342900" indent="-3429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 marL="285750" indent="-2857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2pPr>
            <a:lvl3pPr marL="285750" indent="-2857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3pPr>
            <a:lvl4pPr marL="228600" indent="-2286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4pPr>
            <a:lvl5pPr marL="171450" indent="-1714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5D3C16F-BFD3-5C45-8A75-F945243BD0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B724BC-E703-6F48-9C51-34DA45DA1D84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81B983CD-8697-7A4C-98BF-C96A504EBB60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3C623C0-AA65-6D47-BD56-F2E05B18AD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572266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E8323F-1274-FE48-AB43-C1F11401E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300" y="2277269"/>
            <a:ext cx="10693400" cy="3816350"/>
          </a:xfr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04F91A0-6CBA-CE4D-B28B-FC4B603A8A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B0C67E-DB71-B244-B5C9-BCF0AFCBF939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1C46BB97-1169-B443-85FB-E19F10BE09F5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C82D7FF-459A-6E42-8EFC-860968E794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895382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E0695E-B8B4-BB41-B1AA-0922B91ECB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5823A5-9DC9-FC47-A61D-B973DFF43A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38B032B-5FFB-A04A-A4E6-95883F533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BA0D5D-4B71-E94B-AD62-BDD256CD99A1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686086731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E8323F-1274-FE48-AB43-C1F11401E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300" y="2277269"/>
            <a:ext cx="10693400" cy="2303463"/>
          </a:xfr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4394C6-6CB3-414D-980E-E55C69C693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9300" y="4889501"/>
            <a:ext cx="10693400" cy="1204119"/>
          </a:xfrm>
        </p:spPr>
        <p:txBody>
          <a:bodyPr anchor="t">
            <a:normAutofit/>
          </a:bodyPr>
          <a:lstStyle>
            <a:lvl1pPr>
              <a:defRPr sz="1200" b="1"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F0484485-25C4-C345-BB83-6D620C281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65DBE7-86BE-3648-9779-6BE17DC80669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77148874-7492-5341-BDC5-70A3B039F77B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E695024-E239-A345-840A-58DE04D72F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98549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E8323F-1274-FE48-AB43-C1F11401E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300" y="2277269"/>
            <a:ext cx="6858794" cy="3816350"/>
          </a:xfr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8EA36788-F45B-6746-920F-7097E4ADFB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A0ECE4-64E8-8644-9420-C7FE5B6D0BC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82F48EF1-5CB6-C547-A88F-9B957EA7866B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F72DAF8-35EE-AD4C-A0EB-C8DB737D60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B98B01D-A7B4-EB42-B273-981A725EC4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0" y="2277269"/>
            <a:ext cx="3060700" cy="3816351"/>
          </a:xfrm>
        </p:spPr>
        <p:txBody>
          <a:bodyPr anchor="t">
            <a:normAutofit/>
          </a:bodyPr>
          <a:lstStyle>
            <a:lvl1pPr>
              <a:defRPr sz="1200" b="1"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7979559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64E4D4CB-1300-134C-8543-5FC129510DB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749300" y="2277269"/>
            <a:ext cx="10693400" cy="3816350"/>
          </a:xfr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23D7F3-2DA4-9A4A-928F-C434683A8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FDD337-ED76-DF40-8597-610D19EE3022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EDA16D18-5825-8649-8E10-DE7B85CCF766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906933F-AD30-B347-B94E-25271E3B19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507206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64E4D4CB-1300-134C-8543-5FC129510DB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749300" y="2277269"/>
            <a:ext cx="10693400" cy="2286000"/>
          </a:xfr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9300" y="4872038"/>
            <a:ext cx="10693400" cy="1221581"/>
          </a:xfrm>
        </p:spPr>
        <p:txBody>
          <a:bodyPr anchor="t">
            <a:normAutofit/>
          </a:bodyPr>
          <a:lstStyle>
            <a:lvl1pPr>
              <a:defRPr sz="1200" b="1"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8CF2872C-98C2-854C-A278-A2A7EAAE0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514D04-509E-FE47-85CB-399929EBAA59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267F65E9-F813-984F-BEAC-FA8A9DF4DCF1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56EDBE6-3EA2-A444-9092-7C2D85ECF1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377722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64E4D4CB-1300-134C-8543-5FC129510DB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749300" y="2277269"/>
            <a:ext cx="6858794" cy="3816350"/>
          </a:xfr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F9A9922D-6163-6D40-86E1-E5C5B47796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A127C7-A035-4541-98FB-F82D349DC202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9D757440-856A-E644-85AB-677FD3762B6F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3681080-3FD0-3E41-BA80-B5DE6B16BD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46A7C22-501C-B84C-BFB3-C891C57C2CF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0" y="2277269"/>
            <a:ext cx="3060700" cy="3816351"/>
          </a:xfrm>
        </p:spPr>
        <p:txBody>
          <a:bodyPr anchor="t">
            <a:normAutofit/>
          </a:bodyPr>
          <a:lstStyle>
            <a:lvl1pPr>
              <a:defRPr sz="1200" b="1"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4232889"/>
      </p:ext>
    </p:extLst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D1BCA763-FD75-6049-B7F8-A5ADAB15B67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49300" y="2277269"/>
            <a:ext cx="10693400" cy="3816350"/>
          </a:xfr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76B9C43-6EDF-5B44-BDF5-C1A6D61A9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638DC0-7D48-524C-B249-82C683A68A4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E2AB87F8-A45C-FB47-8F7E-61A0861B9157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4023556-9E1C-894E-BADB-6B857730D4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536448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9300" y="4889501"/>
            <a:ext cx="10693400" cy="1204119"/>
          </a:xfrm>
        </p:spPr>
        <p:txBody>
          <a:bodyPr anchor="t">
            <a:normAutofit/>
          </a:bodyPr>
          <a:lstStyle>
            <a:lvl1pPr>
              <a:defRPr sz="1200" b="1"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CE539725-06A8-F14F-95E3-C78D46209C25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749300" y="2277269"/>
            <a:ext cx="10693400" cy="2303463"/>
          </a:xfr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FE2FEF72-9E38-3E41-B705-98C180DAB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A0BD0B-F23A-B042-AE9A-12238BAB7DF8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E3608F7C-B20C-CB46-8645-A4CC0F9BBD30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E6B78F4-BA2A-C049-8D67-CAA6F064B4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649538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0" y="2277269"/>
            <a:ext cx="3060700" cy="3816351"/>
          </a:xfrm>
        </p:spPr>
        <p:txBody>
          <a:bodyPr anchor="t">
            <a:normAutofit/>
          </a:bodyPr>
          <a:lstStyle>
            <a:lvl1pPr>
              <a:defRPr sz="1200" b="1"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DDBCAFBD-2662-B64C-ABF3-3BCF09B6C6C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749300" y="2277269"/>
            <a:ext cx="6858794" cy="3816350"/>
          </a:xfr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EDEEDE8F-DC6C-D34B-A691-DE2E3453E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F7C1B0-6DC5-2548-A259-FB5CED71F980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76D53ABA-0A47-D244-8D8A-2386895FFEEE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FB14521-FE16-2D43-8806-2D2737749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19432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0" y="4580732"/>
            <a:ext cx="5346700" cy="1512888"/>
          </a:xfrm>
        </p:spPr>
        <p:txBody>
          <a:bodyPr anchor="t">
            <a:normAutofit/>
          </a:bodyPr>
          <a:lstStyle>
            <a:lvl1pPr>
              <a:defRPr sz="1600" b="1"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8E34AFF-3741-6948-9F95-CCF9998384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20855E8-199E-564E-8025-1BA915DDEB8B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CB27D9FB-EA33-344D-81EE-1309501DFEE0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718D72F-9497-844E-8836-7D70F63876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511688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B716574F-E7B5-754B-BE28-D290384423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34" name="Новый бренд МТС"/>
          <p:cNvSpPr>
            <a:spLocks noGrp="1"/>
          </p:cNvSpPr>
          <p:nvPr>
            <p:ph type="body" sz="quarter" idx="14"/>
          </p:nvPr>
        </p:nvSpPr>
        <p:spPr>
          <a:xfrm>
            <a:off x="728890" y="5644438"/>
            <a:ext cx="2417650" cy="38472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900">
                <a:solidFill>
                  <a:srgbClr val="FFFFFF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dirty="0" err="1"/>
              <a:t>Новый</a:t>
            </a:r>
            <a:r>
              <a:rPr dirty="0"/>
              <a:t> </a:t>
            </a:r>
            <a:r>
              <a:rPr dirty="0" err="1"/>
              <a:t>бренд</a:t>
            </a:r>
            <a:r>
              <a:rPr dirty="0"/>
              <a:t> МТС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F94C552-8C05-4B40-BE5D-8FDF5F541E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8890" y="2277269"/>
            <a:ext cx="6828404" cy="2286000"/>
          </a:xfrm>
        </p:spPr>
        <p:txBody>
          <a:bodyPr anchor="t"/>
          <a:lstStyle>
            <a:lvl1pPr marL="342900" indent="-342900">
              <a:buClr>
                <a:srgbClr val="ED1C24"/>
              </a:buClr>
              <a:buFont typeface="Arial" panose="020B0604020202020204" pitchFamily="34" charset="0"/>
              <a:buChar char="•"/>
              <a:defRPr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 marL="285750" indent="-285750">
              <a:buClr>
                <a:srgbClr val="ED1C24"/>
              </a:buClr>
              <a:buFont typeface="Arial" panose="020B0604020202020204" pitchFamily="34" charset="0"/>
              <a:buChar char="•"/>
              <a:defRPr/>
            </a:lvl2pPr>
            <a:lvl3pPr marL="285750" indent="-285750">
              <a:buClr>
                <a:srgbClr val="ED1C24"/>
              </a:buClr>
              <a:buFont typeface="Arial" panose="020B0604020202020204" pitchFamily="34" charset="0"/>
              <a:buChar char="•"/>
              <a:defRPr/>
            </a:lvl3pPr>
            <a:lvl4pPr marL="228600" indent="-228600">
              <a:buClr>
                <a:srgbClr val="ED1C24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rgbClr val="ED1C24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82CC38E-5483-AE42-BC12-4E9A0362D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8979C2-8B62-484B-A61A-F1C200EE7863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678798417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3671660"/>
          </a:xfrm>
          <a:prstGeom prst="rect">
            <a:avLst/>
          </a:prstGeom>
        </p:spPr>
        <p:txBody>
          <a:bodyPr anchor="b"/>
          <a:lstStyle>
            <a:lvl1pPr>
              <a:lnSpc>
                <a:spcPts val="5000"/>
              </a:lnSpc>
              <a:defRPr sz="5000" b="1" i="0" spc="0" baseline="0">
                <a:ln>
                  <a:noFill/>
                </a:ln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57FDAA5-7831-2B46-B38B-A80F0EE48D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C460590-BBFC-EA43-930E-F3DE8442A0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3412844705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E91EFA-7FEC-0A43-A2D5-D22AC378C7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9300" y="2277269"/>
            <a:ext cx="10693400" cy="3816350"/>
          </a:xfrm>
        </p:spPr>
        <p:txBody>
          <a:bodyPr anchor="t">
            <a:normAutofit/>
          </a:bodyPr>
          <a:lstStyle>
            <a:lvl1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C59085-07A3-214E-AF26-97C94DFA0F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28FB29-D343-C542-90EC-C301E624D593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1D3925A8-D5D6-794B-9ABA-ECB577129D3D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A0CAC76-73A6-634A-B89C-BC4B887EEC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806715"/>
      </p:ext>
    </p:extLst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5064C05-E44F-FD42-8F6C-5EE59B896BD6}"/>
              </a:ext>
            </a:extLst>
          </p:cNvPr>
          <p:cNvSpPr>
            <a:spLocks noGrp="1"/>
          </p:cNvSpPr>
          <p:nvPr>
            <p:ph type="chart" sz="quarter" idx="10" hasCustomPrompt="1"/>
          </p:nvPr>
        </p:nvSpPr>
        <p:spPr>
          <a:xfrm>
            <a:off x="749300" y="2277269"/>
            <a:ext cx="6103144" cy="3816350"/>
          </a:xfrm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en-US" dirty="0"/>
              <a:t>Chart</a:t>
            </a:r>
            <a:endParaRPr lang="ru-RU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943375F-128A-6240-BD8D-43B1141F3E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08094" y="3051175"/>
            <a:ext cx="3834606" cy="2286000"/>
          </a:xfrm>
        </p:spPr>
        <p:txBody>
          <a:bodyPr anchor="t">
            <a:normAutofit/>
          </a:bodyPr>
          <a:lstStyle>
            <a:lvl1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CE21D7-697E-0F4C-8232-712E302B8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1B7AC9-AB0D-4443-8C4C-426E2432E6C8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42C58-A4EA-F048-BC76-BCFA53700846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78F6ED2-0F0D-6C4D-BF0B-D34461B4EF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589882"/>
      </p:ext>
    </p:extLst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E9269D78-5C09-9F41-A835-32E36F011CF7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749300" y="2277269"/>
            <a:ext cx="10706100" cy="3816350"/>
          </a:xfrm>
        </p:spPr>
        <p:txBody>
          <a:bodyPr anchor="ctr"/>
          <a:lstStyle>
            <a:lvl1pPr algn="ctr">
              <a:defRPr>
                <a:solidFill>
                  <a:schemeClr val="bg1">
                    <a:alpha val="51000"/>
                  </a:schemeClr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en-US" dirty="0"/>
              <a:t>Table</a:t>
            </a:r>
            <a:endParaRPr lang="ru-RU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D8AF03C-B5A0-CB4E-83D8-6F744DC35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0A2E27-7E18-AC4F-9371-B72A757A04D1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3850DA40-ABDD-514A-876D-19301609E18F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90688CE-2903-E540-8122-2C83A0FADE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534127"/>
      </p:ext>
    </p:extLst>
  </p:cSld>
  <p:clrMapOvr>
    <a:masterClrMapping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476DB32-43B4-B743-86B0-C23657D70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8458" b="9880"/>
          <a:stretch/>
        </p:blipFill>
        <p:spPr>
          <a:xfrm>
            <a:off x="9774044" y="764382"/>
            <a:ext cx="2417956" cy="394908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943375F-128A-6240-BD8D-43B1141F3E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9906" y="3806825"/>
            <a:ext cx="4572794" cy="2286000"/>
          </a:xfrm>
        </p:spPr>
        <p:txBody>
          <a:bodyPr anchor="t">
            <a:normAutofit/>
          </a:bodyPr>
          <a:lstStyle>
            <a:lvl1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F685A7D-55FA-1F40-AA6D-E96F6CE54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0ADE13-A7C5-C645-AD41-75D2D90228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9907" y="2277269"/>
            <a:ext cx="4554537" cy="15049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ts val="3800"/>
              </a:lnSpc>
              <a:defRPr sz="28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8618F4-66F0-C74F-8A90-857635D9D87B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06770393"/>
      </p:ext>
    </p:extLst>
  </p:cSld>
  <p:clrMapOvr>
    <a:masterClrMapping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B7E9B546-9441-CB48-A184-878A9C9A49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4552950"/>
            <a:ext cx="6096000" cy="2287588"/>
          </a:xfrm>
          <a:ln w="63500">
            <a:solidFill>
              <a:schemeClr val="bg1"/>
            </a:solidFill>
          </a:ln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943375F-128A-6240-BD8D-43B1141F3E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9300" y="2277269"/>
            <a:ext cx="4590257" cy="3815556"/>
          </a:xfrm>
        </p:spPr>
        <p:txBody>
          <a:bodyPr>
            <a:normAutofit/>
          </a:bodyPr>
          <a:lstStyle>
            <a:lvl1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2pPr>
            <a:lvl3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3pPr>
            <a:lvl4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4pPr>
            <a:lvl5pPr>
              <a:defRPr sz="12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92E3BB7C-17AB-1F4A-9421-314026B04A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2286000"/>
            <a:ext cx="3060700" cy="2266950"/>
          </a:xfrm>
          <a:ln w="63500">
            <a:solidFill>
              <a:schemeClr val="bg1"/>
            </a:solidFill>
          </a:ln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E01DE758-7FE8-6A4D-95EB-E658F91CA8C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4000" y="2305050"/>
            <a:ext cx="3048000" cy="2247900"/>
          </a:xfrm>
          <a:ln w="63500">
            <a:solidFill>
              <a:schemeClr val="bg1"/>
            </a:solidFill>
          </a:ln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FB58799E-0300-9043-8CF1-F4E0B933BE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645E874-5469-BE49-8FDB-FCCC8A084833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3466E4B0-7E18-0C4B-B736-3D9C6A9198D0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 dirty="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0122218-033E-C749-8860-9662A1B56F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010877"/>
      </p:ext>
    </p:extLst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33D99CC5-8D37-49F0-A803-DA0100DFC9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pic>
        <p:nvPicPr>
          <p:cNvPr id="43" name="Graphic 24">
            <a:extLst>
              <a:ext uri="{FF2B5EF4-FFF2-40B4-BE49-F238E27FC236}">
                <a16:creationId xmlns:a16="http://schemas.microsoft.com/office/drawing/2014/main" id="{A6F050A7-DDA4-480C-9B38-2E14B91828D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20" name="TextBox 19">
            <a:hlinkClick r:id="" action="ppaction://noaction"/>
            <a:extLst>
              <a:ext uri="{FF2B5EF4-FFF2-40B4-BE49-F238E27FC236}">
                <a16:creationId xmlns:a16="http://schemas.microsoft.com/office/drawing/2014/main" id="{D8733E21-CE34-4A1A-9B65-6AC7795AD250}"/>
              </a:ext>
            </a:extLst>
          </p:cNvPr>
          <p:cNvSpPr txBox="1"/>
          <p:nvPr userDrawn="1"/>
        </p:nvSpPr>
        <p:spPr>
          <a:xfrm>
            <a:off x="1343472" y="-27534"/>
            <a:ext cx="1224000" cy="432000"/>
          </a:xfrm>
          <a:prstGeom prst="rect">
            <a:avLst/>
          </a:prstGeom>
          <a:solidFill>
            <a:srgbClr val="828282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hlinkClick r:id="" action="ppaction://noaction"/>
            <a:extLst>
              <a:ext uri="{FF2B5EF4-FFF2-40B4-BE49-F238E27FC236}">
                <a16:creationId xmlns:a16="http://schemas.microsoft.com/office/drawing/2014/main" id="{E6AE5F0D-98E2-4268-B781-F00D5978873E}"/>
              </a:ext>
            </a:extLst>
          </p:cNvPr>
          <p:cNvSpPr txBox="1"/>
          <p:nvPr userDrawn="1"/>
        </p:nvSpPr>
        <p:spPr>
          <a:xfrm>
            <a:off x="2066143" y="-27534"/>
            <a:ext cx="1224000" cy="432000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hlinkClick r:id="" action="ppaction://noaction"/>
            <a:extLst>
              <a:ext uri="{FF2B5EF4-FFF2-40B4-BE49-F238E27FC236}">
                <a16:creationId xmlns:a16="http://schemas.microsoft.com/office/drawing/2014/main" id="{22E6DD5C-CF42-4DF6-8DB5-22096BCDEB4A}"/>
              </a:ext>
            </a:extLst>
          </p:cNvPr>
          <p:cNvSpPr txBox="1"/>
          <p:nvPr userDrawn="1"/>
        </p:nvSpPr>
        <p:spPr>
          <a:xfrm>
            <a:off x="2808319" y="-27534"/>
            <a:ext cx="1260000" cy="432000"/>
          </a:xfrm>
          <a:prstGeom prst="rect">
            <a:avLst/>
          </a:prstGeom>
          <a:solidFill>
            <a:srgbClr val="8C8C8C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3502635" y="-27484"/>
            <a:ext cx="1260000" cy="432000"/>
          </a:xfrm>
          <a:prstGeom prst="rect">
            <a:avLst/>
          </a:prstGeom>
          <a:solidFill>
            <a:srgbClr val="919191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FEBA5A60-81BB-44F1-9637-A18394B5220C}"/>
              </a:ext>
            </a:extLst>
          </p:cNvPr>
          <p:cNvGrpSpPr/>
          <p:nvPr userDrawn="1"/>
        </p:nvGrpSpPr>
        <p:grpSpPr>
          <a:xfrm>
            <a:off x="11208568" y="6417332"/>
            <a:ext cx="774212" cy="193007"/>
            <a:chOff x="-3138818" y="3304987"/>
            <a:chExt cx="1687512" cy="420688"/>
          </a:xfrm>
        </p:grpSpPr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E9799C2B-2CD3-4909-B0E4-E7F1A9643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8818" y="3304987"/>
              <a:ext cx="300038" cy="420688"/>
            </a:xfrm>
            <a:custGeom>
              <a:avLst/>
              <a:gdLst>
                <a:gd name="T0" fmla="*/ 136 w 272"/>
                <a:gd name="T1" fmla="*/ 0 h 381"/>
                <a:gd name="T2" fmla="*/ 46 w 272"/>
                <a:gd name="T3" fmla="*/ 73 h 381"/>
                <a:gd name="T4" fmla="*/ 0 w 272"/>
                <a:gd name="T5" fmla="*/ 231 h 381"/>
                <a:gd name="T6" fmla="*/ 136 w 272"/>
                <a:gd name="T7" fmla="*/ 381 h 381"/>
                <a:gd name="T8" fmla="*/ 272 w 272"/>
                <a:gd name="T9" fmla="*/ 231 h 381"/>
                <a:gd name="T10" fmla="*/ 226 w 272"/>
                <a:gd name="T11" fmla="*/ 73 h 381"/>
                <a:gd name="T12" fmla="*/ 136 w 272"/>
                <a:gd name="T13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381">
                  <a:moveTo>
                    <a:pt x="136" y="0"/>
                  </a:moveTo>
                  <a:cubicBezTo>
                    <a:pt x="107" y="0"/>
                    <a:pt x="74" y="27"/>
                    <a:pt x="46" y="73"/>
                  </a:cubicBezTo>
                  <a:cubicBezTo>
                    <a:pt x="17" y="121"/>
                    <a:pt x="0" y="179"/>
                    <a:pt x="0" y="231"/>
                  </a:cubicBezTo>
                  <a:cubicBezTo>
                    <a:pt x="0" y="305"/>
                    <a:pt x="42" y="381"/>
                    <a:pt x="136" y="381"/>
                  </a:cubicBezTo>
                  <a:cubicBezTo>
                    <a:pt x="230" y="381"/>
                    <a:pt x="272" y="305"/>
                    <a:pt x="272" y="231"/>
                  </a:cubicBezTo>
                  <a:cubicBezTo>
                    <a:pt x="272" y="179"/>
                    <a:pt x="255" y="121"/>
                    <a:pt x="226" y="73"/>
                  </a:cubicBezTo>
                  <a:cubicBezTo>
                    <a:pt x="198" y="27"/>
                    <a:pt x="164" y="0"/>
                    <a:pt x="136" y="0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3FEFE00C-0E8C-4331-A50C-A97C69B00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8381" y="3327212"/>
              <a:ext cx="322263" cy="374650"/>
            </a:xfrm>
            <a:custGeom>
              <a:avLst/>
              <a:gdLst>
                <a:gd name="T0" fmla="*/ 0 w 203"/>
                <a:gd name="T1" fmla="*/ 64 h 236"/>
                <a:gd name="T2" fmla="*/ 66 w 203"/>
                <a:gd name="T3" fmla="*/ 64 h 236"/>
                <a:gd name="T4" fmla="*/ 66 w 203"/>
                <a:gd name="T5" fmla="*/ 236 h 236"/>
                <a:gd name="T6" fmla="*/ 137 w 203"/>
                <a:gd name="T7" fmla="*/ 236 h 236"/>
                <a:gd name="T8" fmla="*/ 137 w 203"/>
                <a:gd name="T9" fmla="*/ 64 h 236"/>
                <a:gd name="T10" fmla="*/ 203 w 203"/>
                <a:gd name="T11" fmla="*/ 64 h 236"/>
                <a:gd name="T12" fmla="*/ 203 w 203"/>
                <a:gd name="T13" fmla="*/ 0 h 236"/>
                <a:gd name="T14" fmla="*/ 0 w 203"/>
                <a:gd name="T15" fmla="*/ 0 h 236"/>
                <a:gd name="T16" fmla="*/ 0 w 203"/>
                <a:gd name="T17" fmla="*/ 6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236">
                  <a:moveTo>
                    <a:pt x="0" y="64"/>
                  </a:moveTo>
                  <a:lnTo>
                    <a:pt x="66" y="64"/>
                  </a:lnTo>
                  <a:lnTo>
                    <a:pt x="66" y="236"/>
                  </a:lnTo>
                  <a:lnTo>
                    <a:pt x="137" y="236"/>
                  </a:lnTo>
                  <a:lnTo>
                    <a:pt x="137" y="64"/>
                  </a:lnTo>
                  <a:lnTo>
                    <a:pt x="203" y="64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57286790-9B6E-4495-8E13-11CD2362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8181" y="3327212"/>
              <a:ext cx="396875" cy="374650"/>
            </a:xfrm>
            <a:custGeom>
              <a:avLst/>
              <a:gdLst>
                <a:gd name="T0" fmla="*/ 211 w 360"/>
                <a:gd name="T1" fmla="*/ 92 h 340"/>
                <a:gd name="T2" fmla="*/ 360 w 360"/>
                <a:gd name="T3" fmla="*/ 92 h 340"/>
                <a:gd name="T4" fmla="*/ 360 w 360"/>
                <a:gd name="T5" fmla="*/ 0 h 340"/>
                <a:gd name="T6" fmla="*/ 211 w 360"/>
                <a:gd name="T7" fmla="*/ 0 h 340"/>
                <a:gd name="T8" fmla="*/ 0 w 360"/>
                <a:gd name="T9" fmla="*/ 170 h 340"/>
                <a:gd name="T10" fmla="*/ 211 w 360"/>
                <a:gd name="T11" fmla="*/ 340 h 340"/>
                <a:gd name="T12" fmla="*/ 360 w 360"/>
                <a:gd name="T13" fmla="*/ 340 h 340"/>
                <a:gd name="T14" fmla="*/ 360 w 360"/>
                <a:gd name="T15" fmla="*/ 249 h 340"/>
                <a:gd name="T16" fmla="*/ 211 w 360"/>
                <a:gd name="T17" fmla="*/ 249 h 340"/>
                <a:gd name="T18" fmla="*/ 105 w 360"/>
                <a:gd name="T19" fmla="*/ 170 h 340"/>
                <a:gd name="T20" fmla="*/ 211 w 360"/>
                <a:gd name="T21" fmla="*/ 9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0" h="340">
                  <a:moveTo>
                    <a:pt x="211" y="92"/>
                  </a:moveTo>
                  <a:cubicBezTo>
                    <a:pt x="360" y="92"/>
                    <a:pt x="360" y="92"/>
                    <a:pt x="360" y="92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73" y="0"/>
                    <a:pt x="0" y="69"/>
                    <a:pt x="0" y="170"/>
                  </a:cubicBezTo>
                  <a:cubicBezTo>
                    <a:pt x="0" y="272"/>
                    <a:pt x="73" y="340"/>
                    <a:pt x="211" y="340"/>
                  </a:cubicBezTo>
                  <a:cubicBezTo>
                    <a:pt x="360" y="340"/>
                    <a:pt x="360" y="340"/>
                    <a:pt x="360" y="340"/>
                  </a:cubicBezTo>
                  <a:cubicBezTo>
                    <a:pt x="360" y="249"/>
                    <a:pt x="360" y="249"/>
                    <a:pt x="360" y="249"/>
                  </a:cubicBezTo>
                  <a:cubicBezTo>
                    <a:pt x="211" y="249"/>
                    <a:pt x="211" y="249"/>
                    <a:pt x="211" y="249"/>
                  </a:cubicBezTo>
                  <a:cubicBezTo>
                    <a:pt x="147" y="249"/>
                    <a:pt x="105" y="226"/>
                    <a:pt x="105" y="170"/>
                  </a:cubicBezTo>
                  <a:cubicBezTo>
                    <a:pt x="105" y="115"/>
                    <a:pt x="147" y="92"/>
                    <a:pt x="211" y="92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67DF37DA-D8CF-4A34-8D88-B3381ED85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6068" y="3327212"/>
              <a:ext cx="517525" cy="374650"/>
            </a:xfrm>
            <a:custGeom>
              <a:avLst/>
              <a:gdLst>
                <a:gd name="T0" fmla="*/ 201 w 326"/>
                <a:gd name="T1" fmla="*/ 0 h 236"/>
                <a:gd name="T2" fmla="*/ 163 w 326"/>
                <a:gd name="T3" fmla="*/ 141 h 236"/>
                <a:gd name="T4" fmla="*/ 125 w 326"/>
                <a:gd name="T5" fmla="*/ 0 h 236"/>
                <a:gd name="T6" fmla="*/ 0 w 326"/>
                <a:gd name="T7" fmla="*/ 0 h 236"/>
                <a:gd name="T8" fmla="*/ 0 w 326"/>
                <a:gd name="T9" fmla="*/ 236 h 236"/>
                <a:gd name="T10" fmla="*/ 71 w 326"/>
                <a:gd name="T11" fmla="*/ 236 h 236"/>
                <a:gd name="T12" fmla="*/ 71 w 326"/>
                <a:gd name="T13" fmla="*/ 44 h 236"/>
                <a:gd name="T14" fmla="*/ 122 w 326"/>
                <a:gd name="T15" fmla="*/ 236 h 236"/>
                <a:gd name="T16" fmla="*/ 204 w 326"/>
                <a:gd name="T17" fmla="*/ 236 h 236"/>
                <a:gd name="T18" fmla="*/ 255 w 326"/>
                <a:gd name="T19" fmla="*/ 44 h 236"/>
                <a:gd name="T20" fmla="*/ 255 w 326"/>
                <a:gd name="T21" fmla="*/ 236 h 236"/>
                <a:gd name="T22" fmla="*/ 326 w 326"/>
                <a:gd name="T23" fmla="*/ 236 h 236"/>
                <a:gd name="T24" fmla="*/ 326 w 326"/>
                <a:gd name="T25" fmla="*/ 0 h 236"/>
                <a:gd name="T26" fmla="*/ 201 w 326"/>
                <a:gd name="T27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" h="236">
                  <a:moveTo>
                    <a:pt x="201" y="0"/>
                  </a:moveTo>
                  <a:lnTo>
                    <a:pt x="163" y="141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36"/>
                  </a:lnTo>
                  <a:lnTo>
                    <a:pt x="71" y="236"/>
                  </a:lnTo>
                  <a:lnTo>
                    <a:pt x="71" y="44"/>
                  </a:lnTo>
                  <a:lnTo>
                    <a:pt x="122" y="236"/>
                  </a:lnTo>
                  <a:lnTo>
                    <a:pt x="204" y="236"/>
                  </a:lnTo>
                  <a:lnTo>
                    <a:pt x="255" y="44"/>
                  </a:lnTo>
                  <a:lnTo>
                    <a:pt x="255" y="236"/>
                  </a:lnTo>
                  <a:lnTo>
                    <a:pt x="326" y="236"/>
                  </a:lnTo>
                  <a:lnTo>
                    <a:pt x="326" y="0"/>
                  </a:lnTo>
                  <a:lnTo>
                    <a:pt x="201" y="0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38" name="TextBox 37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7329" y="59558"/>
            <a:ext cx="137556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Конкурентный </a:t>
            </a:r>
          </a:p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из</a:t>
            </a:r>
          </a:p>
        </p:txBody>
      </p:sp>
      <p:sp>
        <p:nvSpPr>
          <p:cNvPr id="48" name="TextBox 47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1406382" y="116632"/>
            <a:ext cx="602767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C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5" name="TextBox 54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131736" y="116632"/>
            <a:ext cx="66522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B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887674" y="116632"/>
            <a:ext cx="527394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FIX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9" name="TextBox 68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3627560" y="120704"/>
            <a:ext cx="77996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В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4" name="TextBox 73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4318253" y="-31272"/>
            <a:ext cx="1634015" cy="432000"/>
          </a:xfrm>
          <a:prstGeom prst="rect">
            <a:avLst/>
          </a:prstGeom>
          <a:solidFill>
            <a:srgbClr val="969696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8219" y="115888"/>
            <a:ext cx="171583" cy="171579"/>
            <a:chOff x="6384032" y="1465802"/>
            <a:chExt cx="90001" cy="89999"/>
          </a:xfrm>
        </p:grpSpPr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9" name="Овал 108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0" name="Овал 109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5" name="Группа 114"/>
          <p:cNvGrpSpPr/>
          <p:nvPr userDrawn="1"/>
        </p:nvGrpSpPr>
        <p:grpSpPr>
          <a:xfrm>
            <a:off x="1355497" y="115888"/>
            <a:ext cx="171583" cy="171579"/>
            <a:chOff x="6384032" y="1465802"/>
            <a:chExt cx="90001" cy="89999"/>
          </a:xfrm>
        </p:grpSpPr>
        <p:sp>
          <p:nvSpPr>
            <p:cNvPr id="116" name="Овал 115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8" name="Овал 117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9" name="Группа 118"/>
          <p:cNvGrpSpPr/>
          <p:nvPr userDrawn="1"/>
        </p:nvGrpSpPr>
        <p:grpSpPr>
          <a:xfrm>
            <a:off x="2074742" y="115888"/>
            <a:ext cx="171583" cy="171579"/>
            <a:chOff x="6384032" y="1465802"/>
            <a:chExt cx="90001" cy="89999"/>
          </a:xfrm>
        </p:grpSpPr>
        <p:sp>
          <p:nvSpPr>
            <p:cNvPr id="120" name="Овал 119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1" name="Овал 120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2" name="Овал 121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23" name="Группа 122"/>
          <p:cNvGrpSpPr/>
          <p:nvPr userDrawn="1"/>
        </p:nvGrpSpPr>
        <p:grpSpPr>
          <a:xfrm>
            <a:off x="2823372" y="115888"/>
            <a:ext cx="171583" cy="171579"/>
            <a:chOff x="6384032" y="1465802"/>
            <a:chExt cx="90001" cy="89999"/>
          </a:xfrm>
        </p:grpSpPr>
        <p:sp>
          <p:nvSpPr>
            <p:cNvPr id="124" name="Овал 123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5" name="Овал 124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6" name="Овал 125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27" name="Группа 126"/>
          <p:cNvGrpSpPr/>
          <p:nvPr userDrawn="1"/>
        </p:nvGrpSpPr>
        <p:grpSpPr>
          <a:xfrm>
            <a:off x="3543539" y="115888"/>
            <a:ext cx="171583" cy="171579"/>
            <a:chOff x="6384032" y="1465802"/>
            <a:chExt cx="90001" cy="89999"/>
          </a:xfrm>
        </p:grpSpPr>
        <p:sp>
          <p:nvSpPr>
            <p:cNvPr id="128" name="Овал 127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9" name="Овал 128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0" name="Овал 129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32" name="TextBox 131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456519" y="112083"/>
            <a:ext cx="151360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ложения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33" name="Группа 132"/>
          <p:cNvGrpSpPr/>
          <p:nvPr userDrawn="1"/>
        </p:nvGrpSpPr>
        <p:grpSpPr>
          <a:xfrm>
            <a:off x="4372498" y="115888"/>
            <a:ext cx="171583" cy="171579"/>
            <a:chOff x="6384032" y="1465802"/>
            <a:chExt cx="90001" cy="89999"/>
          </a:xfrm>
        </p:grpSpPr>
        <p:sp>
          <p:nvSpPr>
            <p:cNvPr id="134" name="Овал 133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5" name="Овал 134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6" name="Овал 135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46" name="Прямая соединительная линия 45"/>
          <p:cNvCxnSpPr/>
          <p:nvPr userDrawn="1"/>
        </p:nvCxnSpPr>
        <p:spPr>
          <a:xfrm>
            <a:off x="1842762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 userDrawn="1"/>
        </p:nvCxnSpPr>
        <p:spPr>
          <a:xfrm>
            <a:off x="2630572" y="199808"/>
            <a:ext cx="192800" cy="187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 userDrawn="1"/>
        </p:nvCxnSpPr>
        <p:spPr>
          <a:xfrm>
            <a:off x="3328731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 userDrawn="1"/>
        </p:nvCxnSpPr>
        <p:spPr>
          <a:xfrm>
            <a:off x="4154374" y="197936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 userDrawn="1"/>
        </p:nvCxnSpPr>
        <p:spPr>
          <a:xfrm>
            <a:off x="164064" y="210222"/>
            <a:ext cx="1192936" cy="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2258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142">
          <p15:clr>
            <a:srgbClr val="FBAE40"/>
          </p15:clr>
        </p15:guide>
        <p15:guide id="3" orient="horz" pos="73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orient="horz" pos="2360">
          <p15:clr>
            <a:srgbClr val="FBAE40"/>
          </p15:clr>
        </p15:guide>
        <p15:guide id="6" orient="horz" pos="2460">
          <p15:clr>
            <a:srgbClr val="FBAE40"/>
          </p15:clr>
        </p15:guide>
        <p15:guide id="7" orient="horz" pos="25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2 Темпы роста доход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 userDrawn="1"/>
        </p:nvSpPr>
        <p:spPr>
          <a:xfrm>
            <a:off x="10729609" y="5806324"/>
            <a:ext cx="1459048" cy="1051676"/>
          </a:xfrm>
          <a:prstGeom prst="rect">
            <a:avLst/>
          </a:prstGeom>
          <a:solidFill>
            <a:sysClr val="window" lastClr="FFFFFF"/>
          </a:soli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61" name="TextBox 1101"/>
          <p:cNvSpPr txBox="1"/>
          <p:nvPr userDrawn="1"/>
        </p:nvSpPr>
        <p:spPr>
          <a:xfrm>
            <a:off x="322263" y="1034496"/>
            <a:ext cx="990600" cy="3079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/>
            <a:r>
              <a:rPr lang="en-US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CDR</a:t>
            </a:r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, тыс.</a:t>
            </a:r>
          </a:p>
        </p:txBody>
      </p:sp>
      <p:sp>
        <p:nvSpPr>
          <p:cNvPr id="62" name="TextBox 1102"/>
          <p:cNvSpPr txBox="1"/>
          <p:nvPr userDrawn="1"/>
        </p:nvSpPr>
        <p:spPr>
          <a:xfrm>
            <a:off x="5362575" y="1034496"/>
            <a:ext cx="1412875" cy="3079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/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Доля рынка, %</a:t>
            </a:r>
          </a:p>
        </p:txBody>
      </p:sp>
      <p:sp>
        <p:nvSpPr>
          <p:cNvPr id="63" name="TextBox 1103"/>
          <p:cNvSpPr txBox="1"/>
          <p:nvPr userDrawn="1"/>
        </p:nvSpPr>
        <p:spPr>
          <a:xfrm>
            <a:off x="5362575" y="3465513"/>
            <a:ext cx="2079625" cy="3079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/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Выживаемость 2М</a:t>
            </a:r>
            <a:r>
              <a:rPr lang="en-US" sz="1400" baseline="300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2</a:t>
            </a:r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, %</a:t>
            </a:r>
          </a:p>
        </p:txBody>
      </p:sp>
      <p:sp>
        <p:nvSpPr>
          <p:cNvPr id="64" name="TextBox 1104"/>
          <p:cNvSpPr txBox="1"/>
          <p:nvPr userDrawn="1"/>
        </p:nvSpPr>
        <p:spPr>
          <a:xfrm>
            <a:off x="2915056" y="3465513"/>
            <a:ext cx="18101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/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Продажи </a:t>
            </a:r>
            <a:r>
              <a:rPr lang="en-US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CDR</a:t>
            </a:r>
            <a:r>
              <a:rPr lang="en-US" sz="1400" baseline="300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1</a:t>
            </a:r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, тыс.</a:t>
            </a:r>
          </a:p>
        </p:txBody>
      </p:sp>
      <p:sp>
        <p:nvSpPr>
          <p:cNvPr id="65" name="TextBox 1571"/>
          <p:cNvSpPr txBox="1"/>
          <p:nvPr userDrawn="1"/>
        </p:nvSpPr>
        <p:spPr>
          <a:xfrm>
            <a:off x="2915056" y="1034496"/>
            <a:ext cx="2171700" cy="3079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/>
            <a:r>
              <a:rPr lang="en-US" sz="1400" spc="-5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GAP </a:t>
            </a:r>
            <a:r>
              <a:rPr lang="ru-RU" sz="1400" spc="-5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с конкурентами, тыс.</a:t>
            </a:r>
          </a:p>
        </p:txBody>
      </p:sp>
      <p:sp>
        <p:nvSpPr>
          <p:cNvPr id="66" name="TextBox 658"/>
          <p:cNvSpPr txBox="1"/>
          <p:nvPr userDrawn="1"/>
        </p:nvSpPr>
        <p:spPr>
          <a:xfrm>
            <a:off x="7967663" y="1023383"/>
            <a:ext cx="2743200" cy="458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>
              <a:lnSpc>
                <a:spcPct val="85000"/>
              </a:lnSpc>
            </a:pPr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Изменение доли МТС накопленным итогом</a:t>
            </a:r>
            <a:r>
              <a:rPr lang="en-US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, %</a:t>
            </a:r>
          </a:p>
        </p:txBody>
      </p:sp>
      <p:sp>
        <p:nvSpPr>
          <p:cNvPr id="67" name="TextBox 1103"/>
          <p:cNvSpPr txBox="1"/>
          <p:nvPr userDrawn="1"/>
        </p:nvSpPr>
        <p:spPr>
          <a:xfrm>
            <a:off x="322263" y="3465513"/>
            <a:ext cx="2046288" cy="3079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/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Прирост </a:t>
            </a:r>
            <a:r>
              <a:rPr lang="en-US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CDR</a:t>
            </a:r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Y-o-Y</a:t>
            </a:r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, %</a:t>
            </a:r>
          </a:p>
        </p:txBody>
      </p:sp>
      <p:sp>
        <p:nvSpPr>
          <p:cNvPr id="68" name="TextBox 658"/>
          <p:cNvSpPr txBox="1"/>
          <p:nvPr userDrawn="1"/>
        </p:nvSpPr>
        <p:spPr>
          <a:xfrm>
            <a:off x="7967663" y="3465513"/>
            <a:ext cx="27991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/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Факторы изменения </a:t>
            </a:r>
            <a:r>
              <a:rPr lang="en-US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CDR</a:t>
            </a:r>
            <a:r>
              <a:rPr lang="en-US" sz="1400" baseline="300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3</a:t>
            </a:r>
            <a:r>
              <a:rPr lang="en-US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, </a:t>
            </a:r>
            <a:r>
              <a:rPr lang="ru-RU" sz="1400" dirty="0">
                <a:solidFill>
                  <a:srgbClr val="000000"/>
                </a:solidFill>
                <a:latin typeface="MTS Sans"/>
                <a:cs typeface="Lato Medium" panose="020F0602020204030203" pitchFamily="34" charset="0"/>
              </a:rPr>
              <a:t>тыс.</a:t>
            </a:r>
            <a:endParaRPr lang="en-US" sz="1400" dirty="0">
              <a:solidFill>
                <a:srgbClr val="000000"/>
              </a:solidFill>
              <a:latin typeface="MTS Sans"/>
              <a:cs typeface="Lato Medium" panose="020F0602020204030203" pitchFamily="34" charset="0"/>
            </a:endParaRPr>
          </a:p>
        </p:txBody>
      </p:sp>
      <p:sp>
        <p:nvSpPr>
          <p:cNvPr id="69" name="TextBox 68"/>
          <p:cNvSpPr txBox="1"/>
          <p:nvPr userDrawn="1"/>
        </p:nvSpPr>
        <p:spPr>
          <a:xfrm rot="16200000">
            <a:off x="7966676" y="3977885"/>
            <a:ext cx="46358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Lato Medium" panose="020F0602020204030203" pitchFamily="34" charset="0"/>
              </a:rPr>
              <a:t>МТС</a:t>
            </a:r>
          </a:p>
        </p:txBody>
      </p:sp>
      <p:sp>
        <p:nvSpPr>
          <p:cNvPr id="70" name="TextBox 69"/>
          <p:cNvSpPr txBox="1"/>
          <p:nvPr userDrawn="1"/>
        </p:nvSpPr>
        <p:spPr>
          <a:xfrm rot="16200000">
            <a:off x="7929807" y="4521241"/>
            <a:ext cx="53732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000000"/>
                </a:solidFill>
                <a:cs typeface="Lato Medium" panose="020F0602020204030203" pitchFamily="34" charset="0"/>
              </a:rPr>
              <a:t>VEON</a:t>
            </a:r>
            <a:endParaRPr lang="ru-RU" sz="1050" dirty="0">
              <a:solidFill>
                <a:srgbClr val="000000"/>
              </a:solidFill>
              <a:cs typeface="Lato Medium" panose="020F0602020204030203" pitchFamily="34" charset="0"/>
            </a:endParaRPr>
          </a:p>
        </p:txBody>
      </p:sp>
      <p:sp>
        <p:nvSpPr>
          <p:cNvPr id="71" name="TextBox 70"/>
          <p:cNvSpPr txBox="1"/>
          <p:nvPr userDrawn="1"/>
        </p:nvSpPr>
        <p:spPr>
          <a:xfrm rot="16200000">
            <a:off x="7990721" y="5056688"/>
            <a:ext cx="41549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Lato Medium" panose="020F0602020204030203" pitchFamily="34" charset="0"/>
              </a:rPr>
              <a:t>МФ</a:t>
            </a:r>
          </a:p>
        </p:txBody>
      </p:sp>
      <p:sp>
        <p:nvSpPr>
          <p:cNvPr id="72" name="TextBox 71"/>
          <p:cNvSpPr txBox="1"/>
          <p:nvPr userDrawn="1"/>
        </p:nvSpPr>
        <p:spPr>
          <a:xfrm rot="16200000">
            <a:off x="7940226" y="5556628"/>
            <a:ext cx="51648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000000"/>
                </a:solidFill>
                <a:cs typeface="Lato Medium" panose="020F0602020204030203" pitchFamily="34" charset="0"/>
              </a:rPr>
              <a:t>Tele2</a:t>
            </a:r>
            <a:endParaRPr lang="ru-RU" sz="1050" dirty="0">
              <a:solidFill>
                <a:srgbClr val="000000"/>
              </a:solidFill>
              <a:cs typeface="Lato Medium" panose="020F0602020204030203" pitchFamily="34" charset="0"/>
            </a:endParaRPr>
          </a:p>
        </p:txBody>
      </p:sp>
      <p:sp>
        <p:nvSpPr>
          <p:cNvPr id="73" name="Номер слайда 11"/>
          <p:cNvSpPr txBox="1">
            <a:spLocks/>
          </p:cNvSpPr>
          <p:nvPr userDrawn="1"/>
        </p:nvSpPr>
        <p:spPr>
          <a:xfrm>
            <a:off x="10349561" y="6367930"/>
            <a:ext cx="3312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eaLnBrk="1" latinLnBrk="0" hangingPunct="1">
              <a:defRPr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  <a:lvl2pPr defTabSz="914400" eaLnBrk="1" latinLnBrk="0" hangingPunct="1">
              <a:defRPr sz="1800">
                <a:latin typeface="+mn-lt"/>
                <a:cs typeface="+mn-cs"/>
              </a:defRPr>
            </a:lvl2pPr>
            <a:lvl3pPr defTabSz="914400" eaLnBrk="1" latinLnBrk="0" hangingPunct="1">
              <a:defRPr sz="1800">
                <a:latin typeface="+mn-lt"/>
                <a:cs typeface="+mn-cs"/>
              </a:defRPr>
            </a:lvl3pPr>
            <a:lvl4pPr defTabSz="914400" eaLnBrk="1" latinLnBrk="0" hangingPunct="1">
              <a:defRPr sz="1800">
                <a:latin typeface="+mn-lt"/>
                <a:cs typeface="+mn-cs"/>
              </a:defRPr>
            </a:lvl4pPr>
            <a:lvl5pPr defTabSz="914400" eaLnBrk="1" latinLnBrk="0" hangingPunct="1">
              <a:defRPr sz="1800">
                <a:latin typeface="+mn-lt"/>
                <a:cs typeface="+mn-cs"/>
              </a:defRPr>
            </a:lvl5pPr>
            <a:lvl6pPr>
              <a:defRPr sz="1800">
                <a:latin typeface="+mn-lt"/>
                <a:cs typeface="+mn-cs"/>
              </a:defRPr>
            </a:lvl6pPr>
            <a:lvl7pPr>
              <a:defRPr sz="1800">
                <a:latin typeface="+mn-lt"/>
                <a:cs typeface="+mn-cs"/>
              </a:defRPr>
            </a:lvl7pPr>
            <a:lvl8pPr>
              <a:defRPr sz="1800">
                <a:latin typeface="+mn-lt"/>
                <a:cs typeface="+mn-cs"/>
              </a:defRPr>
            </a:lvl8pPr>
            <a:lvl9pPr>
              <a:defRPr sz="1800">
                <a:latin typeface="+mn-lt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7F9400-7FE9-4DA1-B5F6-A54CC10F30E4}" type="slidenum">
              <a:rPr kumimoji="0" lang="ru-RU" sz="800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+mn-cs"/>
              </a:rPr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MTS Sans"/>
              <a:cs typeface="+mn-cs"/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328612" y="6185843"/>
            <a:ext cx="1001553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+mn-lt"/>
                <a:cs typeface="Lato Light" panose="020F0402020204030203" pitchFamily="34" charset="0"/>
              </a:defRPr>
            </a:lvl1pPr>
          </a:lstStyle>
          <a:p>
            <a:pPr marL="88900" marR="0" lvl="0" indent="-8890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CDR 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конкурентов, у которых в отчетном месяце был первый контакт за длительный период с абонентами МТС.</a:t>
            </a:r>
          </a:p>
          <a:p>
            <a:pPr marL="88900" marR="0" lvl="0" indent="-8890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Отношение количества активных CDR в отчётном месяце к количеству подключенных в предыдущем.</a:t>
            </a:r>
          </a:p>
          <a:p>
            <a:pPr marL="88900" marR="0" lvl="0" indent="-8890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Факторный рост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CDR 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за год: </a:t>
            </a: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75000"/>
                  </a:srgb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продажи 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– общий объем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CDR 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продаж за год, </a:t>
            </a: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75000"/>
                  </a:srgb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отток продаж 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– количество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CDR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 проданных в течение года и неактивных на текущий месяц, </a:t>
            </a: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75000"/>
                  </a:srgb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отток старой базы</a:t>
            </a: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 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– изменение количества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CDR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 оператора, </a:t>
            </a:r>
            <a:b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</a:b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со сроком жизни более 12 месяцев на отчетный период, </a:t>
            </a:r>
            <a:r>
              <a:rPr kumimoji="0" lang="ru-RU" sz="700" b="1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75000"/>
                  </a:srgb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Прочие*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srgbClr val="7F7F7F">
                    <a:lumMod val="75000"/>
                  </a:srgb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 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- изменение количества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CDR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 оператора, не общающихся с МТС (для МТС – с конкурентами).</a:t>
            </a:r>
          </a:p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Данные по МегаФон с учетом 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Yota.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TS Sans"/>
                <a:cs typeface="Lato Light" panose="020F0402020204030203" pitchFamily="34" charset="0"/>
              </a:rPr>
              <a:t> </a:t>
            </a:r>
          </a:p>
        </p:txBody>
      </p:sp>
      <p:grpSp>
        <p:nvGrpSpPr>
          <p:cNvPr id="116" name="Группа 115">
            <a:extLst>
              <a:ext uri="{FF2B5EF4-FFF2-40B4-BE49-F238E27FC236}">
                <a16:creationId xmlns:a16="http://schemas.microsoft.com/office/drawing/2014/main" id="{FEBA5A60-81BB-44F1-9637-A18394B5220C}"/>
              </a:ext>
            </a:extLst>
          </p:cNvPr>
          <p:cNvGrpSpPr/>
          <p:nvPr userDrawn="1"/>
        </p:nvGrpSpPr>
        <p:grpSpPr>
          <a:xfrm>
            <a:off x="11208568" y="6417332"/>
            <a:ext cx="774212" cy="193007"/>
            <a:chOff x="-3138818" y="3304987"/>
            <a:chExt cx="1687512" cy="420688"/>
          </a:xfrm>
        </p:grpSpPr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E9799C2B-2CD3-4909-B0E4-E7F1A9643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8818" y="3304987"/>
              <a:ext cx="300038" cy="420688"/>
            </a:xfrm>
            <a:custGeom>
              <a:avLst/>
              <a:gdLst>
                <a:gd name="T0" fmla="*/ 136 w 272"/>
                <a:gd name="T1" fmla="*/ 0 h 381"/>
                <a:gd name="T2" fmla="*/ 46 w 272"/>
                <a:gd name="T3" fmla="*/ 73 h 381"/>
                <a:gd name="T4" fmla="*/ 0 w 272"/>
                <a:gd name="T5" fmla="*/ 231 h 381"/>
                <a:gd name="T6" fmla="*/ 136 w 272"/>
                <a:gd name="T7" fmla="*/ 381 h 381"/>
                <a:gd name="T8" fmla="*/ 272 w 272"/>
                <a:gd name="T9" fmla="*/ 231 h 381"/>
                <a:gd name="T10" fmla="*/ 226 w 272"/>
                <a:gd name="T11" fmla="*/ 73 h 381"/>
                <a:gd name="T12" fmla="*/ 136 w 272"/>
                <a:gd name="T13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381">
                  <a:moveTo>
                    <a:pt x="136" y="0"/>
                  </a:moveTo>
                  <a:cubicBezTo>
                    <a:pt x="107" y="0"/>
                    <a:pt x="74" y="27"/>
                    <a:pt x="46" y="73"/>
                  </a:cubicBezTo>
                  <a:cubicBezTo>
                    <a:pt x="17" y="121"/>
                    <a:pt x="0" y="179"/>
                    <a:pt x="0" y="231"/>
                  </a:cubicBezTo>
                  <a:cubicBezTo>
                    <a:pt x="0" y="305"/>
                    <a:pt x="42" y="381"/>
                    <a:pt x="136" y="381"/>
                  </a:cubicBezTo>
                  <a:cubicBezTo>
                    <a:pt x="230" y="381"/>
                    <a:pt x="272" y="305"/>
                    <a:pt x="272" y="231"/>
                  </a:cubicBezTo>
                  <a:cubicBezTo>
                    <a:pt x="272" y="179"/>
                    <a:pt x="255" y="121"/>
                    <a:pt x="226" y="73"/>
                  </a:cubicBezTo>
                  <a:cubicBezTo>
                    <a:pt x="198" y="27"/>
                    <a:pt x="164" y="0"/>
                    <a:pt x="136" y="0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3FEFE00C-0E8C-4331-A50C-A97C69B00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8381" y="3327212"/>
              <a:ext cx="322263" cy="374650"/>
            </a:xfrm>
            <a:custGeom>
              <a:avLst/>
              <a:gdLst>
                <a:gd name="T0" fmla="*/ 0 w 203"/>
                <a:gd name="T1" fmla="*/ 64 h 236"/>
                <a:gd name="T2" fmla="*/ 66 w 203"/>
                <a:gd name="T3" fmla="*/ 64 h 236"/>
                <a:gd name="T4" fmla="*/ 66 w 203"/>
                <a:gd name="T5" fmla="*/ 236 h 236"/>
                <a:gd name="T6" fmla="*/ 137 w 203"/>
                <a:gd name="T7" fmla="*/ 236 h 236"/>
                <a:gd name="T8" fmla="*/ 137 w 203"/>
                <a:gd name="T9" fmla="*/ 64 h 236"/>
                <a:gd name="T10" fmla="*/ 203 w 203"/>
                <a:gd name="T11" fmla="*/ 64 h 236"/>
                <a:gd name="T12" fmla="*/ 203 w 203"/>
                <a:gd name="T13" fmla="*/ 0 h 236"/>
                <a:gd name="T14" fmla="*/ 0 w 203"/>
                <a:gd name="T15" fmla="*/ 0 h 236"/>
                <a:gd name="T16" fmla="*/ 0 w 203"/>
                <a:gd name="T17" fmla="*/ 6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236">
                  <a:moveTo>
                    <a:pt x="0" y="64"/>
                  </a:moveTo>
                  <a:lnTo>
                    <a:pt x="66" y="64"/>
                  </a:lnTo>
                  <a:lnTo>
                    <a:pt x="66" y="236"/>
                  </a:lnTo>
                  <a:lnTo>
                    <a:pt x="137" y="236"/>
                  </a:lnTo>
                  <a:lnTo>
                    <a:pt x="137" y="64"/>
                  </a:lnTo>
                  <a:lnTo>
                    <a:pt x="203" y="64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57286790-9B6E-4495-8E13-11CD2362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8181" y="3327212"/>
              <a:ext cx="396875" cy="374650"/>
            </a:xfrm>
            <a:custGeom>
              <a:avLst/>
              <a:gdLst>
                <a:gd name="T0" fmla="*/ 211 w 360"/>
                <a:gd name="T1" fmla="*/ 92 h 340"/>
                <a:gd name="T2" fmla="*/ 360 w 360"/>
                <a:gd name="T3" fmla="*/ 92 h 340"/>
                <a:gd name="T4" fmla="*/ 360 w 360"/>
                <a:gd name="T5" fmla="*/ 0 h 340"/>
                <a:gd name="T6" fmla="*/ 211 w 360"/>
                <a:gd name="T7" fmla="*/ 0 h 340"/>
                <a:gd name="T8" fmla="*/ 0 w 360"/>
                <a:gd name="T9" fmla="*/ 170 h 340"/>
                <a:gd name="T10" fmla="*/ 211 w 360"/>
                <a:gd name="T11" fmla="*/ 340 h 340"/>
                <a:gd name="T12" fmla="*/ 360 w 360"/>
                <a:gd name="T13" fmla="*/ 340 h 340"/>
                <a:gd name="T14" fmla="*/ 360 w 360"/>
                <a:gd name="T15" fmla="*/ 249 h 340"/>
                <a:gd name="T16" fmla="*/ 211 w 360"/>
                <a:gd name="T17" fmla="*/ 249 h 340"/>
                <a:gd name="T18" fmla="*/ 105 w 360"/>
                <a:gd name="T19" fmla="*/ 170 h 340"/>
                <a:gd name="T20" fmla="*/ 211 w 360"/>
                <a:gd name="T21" fmla="*/ 9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0" h="340">
                  <a:moveTo>
                    <a:pt x="211" y="92"/>
                  </a:moveTo>
                  <a:cubicBezTo>
                    <a:pt x="360" y="92"/>
                    <a:pt x="360" y="92"/>
                    <a:pt x="360" y="92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73" y="0"/>
                    <a:pt x="0" y="69"/>
                    <a:pt x="0" y="170"/>
                  </a:cubicBezTo>
                  <a:cubicBezTo>
                    <a:pt x="0" y="272"/>
                    <a:pt x="73" y="340"/>
                    <a:pt x="211" y="340"/>
                  </a:cubicBezTo>
                  <a:cubicBezTo>
                    <a:pt x="360" y="340"/>
                    <a:pt x="360" y="340"/>
                    <a:pt x="360" y="340"/>
                  </a:cubicBezTo>
                  <a:cubicBezTo>
                    <a:pt x="360" y="249"/>
                    <a:pt x="360" y="249"/>
                    <a:pt x="360" y="249"/>
                  </a:cubicBezTo>
                  <a:cubicBezTo>
                    <a:pt x="211" y="249"/>
                    <a:pt x="211" y="249"/>
                    <a:pt x="211" y="249"/>
                  </a:cubicBezTo>
                  <a:cubicBezTo>
                    <a:pt x="147" y="249"/>
                    <a:pt x="105" y="226"/>
                    <a:pt x="105" y="170"/>
                  </a:cubicBezTo>
                  <a:cubicBezTo>
                    <a:pt x="105" y="115"/>
                    <a:pt x="147" y="92"/>
                    <a:pt x="211" y="92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67DF37DA-D8CF-4A34-8D88-B3381ED85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6068" y="3327212"/>
              <a:ext cx="517525" cy="374650"/>
            </a:xfrm>
            <a:custGeom>
              <a:avLst/>
              <a:gdLst>
                <a:gd name="T0" fmla="*/ 201 w 326"/>
                <a:gd name="T1" fmla="*/ 0 h 236"/>
                <a:gd name="T2" fmla="*/ 163 w 326"/>
                <a:gd name="T3" fmla="*/ 141 h 236"/>
                <a:gd name="T4" fmla="*/ 125 w 326"/>
                <a:gd name="T5" fmla="*/ 0 h 236"/>
                <a:gd name="T6" fmla="*/ 0 w 326"/>
                <a:gd name="T7" fmla="*/ 0 h 236"/>
                <a:gd name="T8" fmla="*/ 0 w 326"/>
                <a:gd name="T9" fmla="*/ 236 h 236"/>
                <a:gd name="T10" fmla="*/ 71 w 326"/>
                <a:gd name="T11" fmla="*/ 236 h 236"/>
                <a:gd name="T12" fmla="*/ 71 w 326"/>
                <a:gd name="T13" fmla="*/ 44 h 236"/>
                <a:gd name="T14" fmla="*/ 122 w 326"/>
                <a:gd name="T15" fmla="*/ 236 h 236"/>
                <a:gd name="T16" fmla="*/ 204 w 326"/>
                <a:gd name="T17" fmla="*/ 236 h 236"/>
                <a:gd name="T18" fmla="*/ 255 w 326"/>
                <a:gd name="T19" fmla="*/ 44 h 236"/>
                <a:gd name="T20" fmla="*/ 255 w 326"/>
                <a:gd name="T21" fmla="*/ 236 h 236"/>
                <a:gd name="T22" fmla="*/ 326 w 326"/>
                <a:gd name="T23" fmla="*/ 236 h 236"/>
                <a:gd name="T24" fmla="*/ 326 w 326"/>
                <a:gd name="T25" fmla="*/ 0 h 236"/>
                <a:gd name="T26" fmla="*/ 201 w 326"/>
                <a:gd name="T27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" h="236">
                  <a:moveTo>
                    <a:pt x="201" y="0"/>
                  </a:moveTo>
                  <a:lnTo>
                    <a:pt x="163" y="141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36"/>
                  </a:lnTo>
                  <a:lnTo>
                    <a:pt x="71" y="236"/>
                  </a:lnTo>
                  <a:lnTo>
                    <a:pt x="71" y="44"/>
                  </a:lnTo>
                  <a:lnTo>
                    <a:pt x="122" y="236"/>
                  </a:lnTo>
                  <a:lnTo>
                    <a:pt x="204" y="236"/>
                  </a:lnTo>
                  <a:lnTo>
                    <a:pt x="255" y="44"/>
                  </a:lnTo>
                  <a:lnTo>
                    <a:pt x="255" y="236"/>
                  </a:lnTo>
                  <a:lnTo>
                    <a:pt x="326" y="236"/>
                  </a:lnTo>
                  <a:lnTo>
                    <a:pt x="326" y="0"/>
                  </a:lnTo>
                  <a:lnTo>
                    <a:pt x="201" y="0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76" name="TextBox 75">
            <a:hlinkClick r:id="" action="ppaction://noaction"/>
            <a:extLst>
              <a:ext uri="{FF2B5EF4-FFF2-40B4-BE49-F238E27FC236}">
                <a16:creationId xmlns:a16="http://schemas.microsoft.com/office/drawing/2014/main" id="{D8733E21-CE34-4A1A-9B65-6AC7795AD250}"/>
              </a:ext>
            </a:extLst>
          </p:cNvPr>
          <p:cNvSpPr txBox="1"/>
          <p:nvPr userDrawn="1"/>
        </p:nvSpPr>
        <p:spPr>
          <a:xfrm>
            <a:off x="1343472" y="-27534"/>
            <a:ext cx="1224000" cy="432000"/>
          </a:xfrm>
          <a:prstGeom prst="rect">
            <a:avLst/>
          </a:prstGeom>
          <a:solidFill>
            <a:srgbClr val="828282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Box 76">
            <a:hlinkClick r:id="" action="ppaction://noaction"/>
            <a:extLst>
              <a:ext uri="{FF2B5EF4-FFF2-40B4-BE49-F238E27FC236}">
                <a16:creationId xmlns:a16="http://schemas.microsoft.com/office/drawing/2014/main" id="{E6AE5F0D-98E2-4268-B781-F00D5978873E}"/>
              </a:ext>
            </a:extLst>
          </p:cNvPr>
          <p:cNvSpPr txBox="1"/>
          <p:nvPr userDrawn="1"/>
        </p:nvSpPr>
        <p:spPr>
          <a:xfrm>
            <a:off x="2066143" y="-27534"/>
            <a:ext cx="1224000" cy="432000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>
            <a:hlinkClick r:id="" action="ppaction://noaction"/>
            <a:extLst>
              <a:ext uri="{FF2B5EF4-FFF2-40B4-BE49-F238E27FC236}">
                <a16:creationId xmlns:a16="http://schemas.microsoft.com/office/drawing/2014/main" id="{22E6DD5C-CF42-4DF6-8DB5-22096BCDEB4A}"/>
              </a:ext>
            </a:extLst>
          </p:cNvPr>
          <p:cNvSpPr txBox="1"/>
          <p:nvPr userDrawn="1"/>
        </p:nvSpPr>
        <p:spPr>
          <a:xfrm>
            <a:off x="2808319" y="-27534"/>
            <a:ext cx="1260000" cy="432000"/>
          </a:xfrm>
          <a:prstGeom prst="rect">
            <a:avLst/>
          </a:prstGeom>
          <a:solidFill>
            <a:srgbClr val="8C8C8C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78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3502635" y="-27484"/>
            <a:ext cx="1260000" cy="432000"/>
          </a:xfrm>
          <a:prstGeom prst="rect">
            <a:avLst/>
          </a:prstGeom>
          <a:solidFill>
            <a:srgbClr val="919191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TextBox 79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7329" y="59558"/>
            <a:ext cx="137556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Конкурентный </a:t>
            </a:r>
          </a:p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из</a:t>
            </a:r>
          </a:p>
        </p:txBody>
      </p:sp>
      <p:sp>
        <p:nvSpPr>
          <p:cNvPr id="81" name="TextBox 80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1406382" y="116632"/>
            <a:ext cx="602767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rgbClr val="FF0000"/>
                </a:solidFill>
                <a:latin typeface="+mn-lt"/>
                <a:cs typeface="Arial" panose="020B0604020202020204" pitchFamily="34" charset="0"/>
              </a:rPr>
              <a:t>B2C</a:t>
            </a:r>
            <a:endParaRPr lang="ru-RU" sz="1600" b="1" dirty="0">
              <a:solidFill>
                <a:srgbClr val="FF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82" name="TextBox 81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131736" y="116632"/>
            <a:ext cx="66522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B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83" name="TextBox 82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887674" y="116632"/>
            <a:ext cx="527394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FIX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84" name="TextBox 83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3627560" y="120704"/>
            <a:ext cx="77996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В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85" name="TextBox 84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4318253" y="-31272"/>
            <a:ext cx="1634015" cy="432000"/>
          </a:xfrm>
          <a:prstGeom prst="rect">
            <a:avLst/>
          </a:prstGeom>
          <a:solidFill>
            <a:srgbClr val="969696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-28219" y="115888"/>
            <a:ext cx="171583" cy="171579"/>
            <a:chOff x="6384032" y="1465802"/>
            <a:chExt cx="90001" cy="89999"/>
          </a:xfrm>
        </p:grpSpPr>
        <p:sp>
          <p:nvSpPr>
            <p:cNvPr id="87" name="Овал 86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9" name="Овал 88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90" name="Группа 89"/>
          <p:cNvGrpSpPr/>
          <p:nvPr userDrawn="1"/>
        </p:nvGrpSpPr>
        <p:grpSpPr>
          <a:xfrm>
            <a:off x="1315409" y="115888"/>
            <a:ext cx="183755" cy="183751"/>
            <a:chOff x="6384032" y="1465802"/>
            <a:chExt cx="90001" cy="89999"/>
          </a:xfrm>
        </p:grpSpPr>
        <p:sp>
          <p:nvSpPr>
            <p:cNvPr id="91" name="Овал 90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E30512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2" name="Овал 91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FF0000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43" name="Группа 142"/>
          <p:cNvGrpSpPr/>
          <p:nvPr userDrawn="1"/>
        </p:nvGrpSpPr>
        <p:grpSpPr>
          <a:xfrm>
            <a:off x="2074742" y="115888"/>
            <a:ext cx="171583" cy="171579"/>
            <a:chOff x="6384032" y="1465802"/>
            <a:chExt cx="90001" cy="89999"/>
          </a:xfrm>
        </p:grpSpPr>
        <p:sp>
          <p:nvSpPr>
            <p:cNvPr id="144" name="Овал 143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5" name="Овал 144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6" name="Овал 145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47" name="Группа 146"/>
          <p:cNvGrpSpPr/>
          <p:nvPr userDrawn="1"/>
        </p:nvGrpSpPr>
        <p:grpSpPr>
          <a:xfrm>
            <a:off x="2823372" y="115888"/>
            <a:ext cx="171583" cy="171579"/>
            <a:chOff x="6384032" y="1465802"/>
            <a:chExt cx="90001" cy="89999"/>
          </a:xfrm>
        </p:grpSpPr>
        <p:sp>
          <p:nvSpPr>
            <p:cNvPr id="148" name="Овал 147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9" name="Овал 148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0" name="Овал 149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51" name="Группа 150"/>
          <p:cNvGrpSpPr/>
          <p:nvPr userDrawn="1"/>
        </p:nvGrpSpPr>
        <p:grpSpPr>
          <a:xfrm>
            <a:off x="3543539" y="115888"/>
            <a:ext cx="171583" cy="171579"/>
            <a:chOff x="6384032" y="1465802"/>
            <a:chExt cx="90001" cy="89999"/>
          </a:xfrm>
        </p:grpSpPr>
        <p:sp>
          <p:nvSpPr>
            <p:cNvPr id="152" name="Овал 151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Овал 152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4" name="Овал 153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55" name="TextBox 154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456519" y="112083"/>
            <a:ext cx="151360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ложения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56" name="Группа 155"/>
          <p:cNvGrpSpPr/>
          <p:nvPr userDrawn="1"/>
        </p:nvGrpSpPr>
        <p:grpSpPr>
          <a:xfrm>
            <a:off x="4372498" y="115888"/>
            <a:ext cx="171583" cy="171579"/>
            <a:chOff x="6384032" y="1465802"/>
            <a:chExt cx="90001" cy="89999"/>
          </a:xfrm>
        </p:grpSpPr>
        <p:sp>
          <p:nvSpPr>
            <p:cNvPr id="157" name="Овал 156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8" name="Овал 157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59" name="Прямая соединительная линия 58"/>
          <p:cNvCxnSpPr/>
          <p:nvPr userDrawn="1"/>
        </p:nvCxnSpPr>
        <p:spPr>
          <a:xfrm>
            <a:off x="1842762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 userDrawn="1"/>
        </p:nvCxnSpPr>
        <p:spPr>
          <a:xfrm>
            <a:off x="2630572" y="199808"/>
            <a:ext cx="192800" cy="187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/>
          <p:nvPr userDrawn="1"/>
        </p:nvCxnSpPr>
        <p:spPr>
          <a:xfrm>
            <a:off x="3328731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единительная линия 94"/>
          <p:cNvCxnSpPr/>
          <p:nvPr userDrawn="1"/>
        </p:nvCxnSpPr>
        <p:spPr>
          <a:xfrm>
            <a:off x="4154374" y="197936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единительная линия 95"/>
          <p:cNvCxnSpPr/>
          <p:nvPr userDrawn="1"/>
        </p:nvCxnSpPr>
        <p:spPr>
          <a:xfrm>
            <a:off x="164064" y="210222"/>
            <a:ext cx="1192936" cy="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90104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FEBA5A60-81BB-44F1-9637-A18394B5220C}"/>
              </a:ext>
            </a:extLst>
          </p:cNvPr>
          <p:cNvGrpSpPr/>
          <p:nvPr userDrawn="1"/>
        </p:nvGrpSpPr>
        <p:grpSpPr>
          <a:xfrm>
            <a:off x="11208568" y="6417332"/>
            <a:ext cx="774212" cy="193007"/>
            <a:chOff x="-3138818" y="3304987"/>
            <a:chExt cx="1687512" cy="420688"/>
          </a:xfrm>
        </p:grpSpPr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E9799C2B-2CD3-4909-B0E4-E7F1A9643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8818" y="3304987"/>
              <a:ext cx="300038" cy="420688"/>
            </a:xfrm>
            <a:custGeom>
              <a:avLst/>
              <a:gdLst>
                <a:gd name="T0" fmla="*/ 136 w 272"/>
                <a:gd name="T1" fmla="*/ 0 h 381"/>
                <a:gd name="T2" fmla="*/ 46 w 272"/>
                <a:gd name="T3" fmla="*/ 73 h 381"/>
                <a:gd name="T4" fmla="*/ 0 w 272"/>
                <a:gd name="T5" fmla="*/ 231 h 381"/>
                <a:gd name="T6" fmla="*/ 136 w 272"/>
                <a:gd name="T7" fmla="*/ 381 h 381"/>
                <a:gd name="T8" fmla="*/ 272 w 272"/>
                <a:gd name="T9" fmla="*/ 231 h 381"/>
                <a:gd name="T10" fmla="*/ 226 w 272"/>
                <a:gd name="T11" fmla="*/ 73 h 381"/>
                <a:gd name="T12" fmla="*/ 136 w 272"/>
                <a:gd name="T13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381">
                  <a:moveTo>
                    <a:pt x="136" y="0"/>
                  </a:moveTo>
                  <a:cubicBezTo>
                    <a:pt x="107" y="0"/>
                    <a:pt x="74" y="27"/>
                    <a:pt x="46" y="73"/>
                  </a:cubicBezTo>
                  <a:cubicBezTo>
                    <a:pt x="17" y="121"/>
                    <a:pt x="0" y="179"/>
                    <a:pt x="0" y="231"/>
                  </a:cubicBezTo>
                  <a:cubicBezTo>
                    <a:pt x="0" y="305"/>
                    <a:pt x="42" y="381"/>
                    <a:pt x="136" y="381"/>
                  </a:cubicBezTo>
                  <a:cubicBezTo>
                    <a:pt x="230" y="381"/>
                    <a:pt x="272" y="305"/>
                    <a:pt x="272" y="231"/>
                  </a:cubicBezTo>
                  <a:cubicBezTo>
                    <a:pt x="272" y="179"/>
                    <a:pt x="255" y="121"/>
                    <a:pt x="226" y="73"/>
                  </a:cubicBezTo>
                  <a:cubicBezTo>
                    <a:pt x="198" y="27"/>
                    <a:pt x="164" y="0"/>
                    <a:pt x="136" y="0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3FEFE00C-0E8C-4331-A50C-A97C69B00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8381" y="3327212"/>
              <a:ext cx="322263" cy="374650"/>
            </a:xfrm>
            <a:custGeom>
              <a:avLst/>
              <a:gdLst>
                <a:gd name="T0" fmla="*/ 0 w 203"/>
                <a:gd name="T1" fmla="*/ 64 h 236"/>
                <a:gd name="T2" fmla="*/ 66 w 203"/>
                <a:gd name="T3" fmla="*/ 64 h 236"/>
                <a:gd name="T4" fmla="*/ 66 w 203"/>
                <a:gd name="T5" fmla="*/ 236 h 236"/>
                <a:gd name="T6" fmla="*/ 137 w 203"/>
                <a:gd name="T7" fmla="*/ 236 h 236"/>
                <a:gd name="T8" fmla="*/ 137 w 203"/>
                <a:gd name="T9" fmla="*/ 64 h 236"/>
                <a:gd name="T10" fmla="*/ 203 w 203"/>
                <a:gd name="T11" fmla="*/ 64 h 236"/>
                <a:gd name="T12" fmla="*/ 203 w 203"/>
                <a:gd name="T13" fmla="*/ 0 h 236"/>
                <a:gd name="T14" fmla="*/ 0 w 203"/>
                <a:gd name="T15" fmla="*/ 0 h 236"/>
                <a:gd name="T16" fmla="*/ 0 w 203"/>
                <a:gd name="T17" fmla="*/ 6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236">
                  <a:moveTo>
                    <a:pt x="0" y="64"/>
                  </a:moveTo>
                  <a:lnTo>
                    <a:pt x="66" y="64"/>
                  </a:lnTo>
                  <a:lnTo>
                    <a:pt x="66" y="236"/>
                  </a:lnTo>
                  <a:lnTo>
                    <a:pt x="137" y="236"/>
                  </a:lnTo>
                  <a:lnTo>
                    <a:pt x="137" y="64"/>
                  </a:lnTo>
                  <a:lnTo>
                    <a:pt x="203" y="64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57286790-9B6E-4495-8E13-11CD2362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8181" y="3327212"/>
              <a:ext cx="396875" cy="374650"/>
            </a:xfrm>
            <a:custGeom>
              <a:avLst/>
              <a:gdLst>
                <a:gd name="T0" fmla="*/ 211 w 360"/>
                <a:gd name="T1" fmla="*/ 92 h 340"/>
                <a:gd name="T2" fmla="*/ 360 w 360"/>
                <a:gd name="T3" fmla="*/ 92 h 340"/>
                <a:gd name="T4" fmla="*/ 360 w 360"/>
                <a:gd name="T5" fmla="*/ 0 h 340"/>
                <a:gd name="T6" fmla="*/ 211 w 360"/>
                <a:gd name="T7" fmla="*/ 0 h 340"/>
                <a:gd name="T8" fmla="*/ 0 w 360"/>
                <a:gd name="T9" fmla="*/ 170 h 340"/>
                <a:gd name="T10" fmla="*/ 211 w 360"/>
                <a:gd name="T11" fmla="*/ 340 h 340"/>
                <a:gd name="T12" fmla="*/ 360 w 360"/>
                <a:gd name="T13" fmla="*/ 340 h 340"/>
                <a:gd name="T14" fmla="*/ 360 w 360"/>
                <a:gd name="T15" fmla="*/ 249 h 340"/>
                <a:gd name="T16" fmla="*/ 211 w 360"/>
                <a:gd name="T17" fmla="*/ 249 h 340"/>
                <a:gd name="T18" fmla="*/ 105 w 360"/>
                <a:gd name="T19" fmla="*/ 170 h 340"/>
                <a:gd name="T20" fmla="*/ 211 w 360"/>
                <a:gd name="T21" fmla="*/ 9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0" h="340">
                  <a:moveTo>
                    <a:pt x="211" y="92"/>
                  </a:moveTo>
                  <a:cubicBezTo>
                    <a:pt x="360" y="92"/>
                    <a:pt x="360" y="92"/>
                    <a:pt x="360" y="92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73" y="0"/>
                    <a:pt x="0" y="69"/>
                    <a:pt x="0" y="170"/>
                  </a:cubicBezTo>
                  <a:cubicBezTo>
                    <a:pt x="0" y="272"/>
                    <a:pt x="73" y="340"/>
                    <a:pt x="211" y="340"/>
                  </a:cubicBezTo>
                  <a:cubicBezTo>
                    <a:pt x="360" y="340"/>
                    <a:pt x="360" y="340"/>
                    <a:pt x="360" y="340"/>
                  </a:cubicBezTo>
                  <a:cubicBezTo>
                    <a:pt x="360" y="249"/>
                    <a:pt x="360" y="249"/>
                    <a:pt x="360" y="249"/>
                  </a:cubicBezTo>
                  <a:cubicBezTo>
                    <a:pt x="211" y="249"/>
                    <a:pt x="211" y="249"/>
                    <a:pt x="211" y="249"/>
                  </a:cubicBezTo>
                  <a:cubicBezTo>
                    <a:pt x="147" y="249"/>
                    <a:pt x="105" y="226"/>
                    <a:pt x="105" y="170"/>
                  </a:cubicBezTo>
                  <a:cubicBezTo>
                    <a:pt x="105" y="115"/>
                    <a:pt x="147" y="92"/>
                    <a:pt x="211" y="92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67DF37DA-D8CF-4A34-8D88-B3381ED85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6068" y="3327212"/>
              <a:ext cx="517525" cy="374650"/>
            </a:xfrm>
            <a:custGeom>
              <a:avLst/>
              <a:gdLst>
                <a:gd name="T0" fmla="*/ 201 w 326"/>
                <a:gd name="T1" fmla="*/ 0 h 236"/>
                <a:gd name="T2" fmla="*/ 163 w 326"/>
                <a:gd name="T3" fmla="*/ 141 h 236"/>
                <a:gd name="T4" fmla="*/ 125 w 326"/>
                <a:gd name="T5" fmla="*/ 0 h 236"/>
                <a:gd name="T6" fmla="*/ 0 w 326"/>
                <a:gd name="T7" fmla="*/ 0 h 236"/>
                <a:gd name="T8" fmla="*/ 0 w 326"/>
                <a:gd name="T9" fmla="*/ 236 h 236"/>
                <a:gd name="T10" fmla="*/ 71 w 326"/>
                <a:gd name="T11" fmla="*/ 236 h 236"/>
                <a:gd name="T12" fmla="*/ 71 w 326"/>
                <a:gd name="T13" fmla="*/ 44 h 236"/>
                <a:gd name="T14" fmla="*/ 122 w 326"/>
                <a:gd name="T15" fmla="*/ 236 h 236"/>
                <a:gd name="T16" fmla="*/ 204 w 326"/>
                <a:gd name="T17" fmla="*/ 236 h 236"/>
                <a:gd name="T18" fmla="*/ 255 w 326"/>
                <a:gd name="T19" fmla="*/ 44 h 236"/>
                <a:gd name="T20" fmla="*/ 255 w 326"/>
                <a:gd name="T21" fmla="*/ 236 h 236"/>
                <a:gd name="T22" fmla="*/ 326 w 326"/>
                <a:gd name="T23" fmla="*/ 236 h 236"/>
                <a:gd name="T24" fmla="*/ 326 w 326"/>
                <a:gd name="T25" fmla="*/ 0 h 236"/>
                <a:gd name="T26" fmla="*/ 201 w 326"/>
                <a:gd name="T27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" h="236">
                  <a:moveTo>
                    <a:pt x="201" y="0"/>
                  </a:moveTo>
                  <a:lnTo>
                    <a:pt x="163" y="141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36"/>
                  </a:lnTo>
                  <a:lnTo>
                    <a:pt x="71" y="236"/>
                  </a:lnTo>
                  <a:lnTo>
                    <a:pt x="71" y="44"/>
                  </a:lnTo>
                  <a:lnTo>
                    <a:pt x="122" y="236"/>
                  </a:lnTo>
                  <a:lnTo>
                    <a:pt x="204" y="236"/>
                  </a:lnTo>
                  <a:lnTo>
                    <a:pt x="255" y="44"/>
                  </a:lnTo>
                  <a:lnTo>
                    <a:pt x="255" y="236"/>
                  </a:lnTo>
                  <a:lnTo>
                    <a:pt x="326" y="236"/>
                  </a:lnTo>
                  <a:lnTo>
                    <a:pt x="326" y="0"/>
                  </a:lnTo>
                  <a:lnTo>
                    <a:pt x="201" y="0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49" name="TextBox 48">
            <a:hlinkClick r:id="" action="ppaction://noaction"/>
            <a:extLst>
              <a:ext uri="{FF2B5EF4-FFF2-40B4-BE49-F238E27FC236}">
                <a16:creationId xmlns:a16="http://schemas.microsoft.com/office/drawing/2014/main" id="{D8733E21-CE34-4A1A-9B65-6AC7795AD250}"/>
              </a:ext>
            </a:extLst>
          </p:cNvPr>
          <p:cNvSpPr txBox="1"/>
          <p:nvPr userDrawn="1"/>
        </p:nvSpPr>
        <p:spPr>
          <a:xfrm>
            <a:off x="1343472" y="88438"/>
            <a:ext cx="1224000" cy="200055"/>
          </a:xfrm>
          <a:prstGeom prst="rect">
            <a:avLst/>
          </a:prstGeom>
          <a:solidFill>
            <a:srgbClr val="828282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hlinkClick r:id="" action="ppaction://noaction"/>
            <a:extLst>
              <a:ext uri="{FF2B5EF4-FFF2-40B4-BE49-F238E27FC236}">
                <a16:creationId xmlns:a16="http://schemas.microsoft.com/office/drawing/2014/main" id="{E6AE5F0D-98E2-4268-B781-F00D5978873E}"/>
              </a:ext>
            </a:extLst>
          </p:cNvPr>
          <p:cNvSpPr txBox="1"/>
          <p:nvPr userDrawn="1"/>
        </p:nvSpPr>
        <p:spPr>
          <a:xfrm>
            <a:off x="2066143" y="-27534"/>
            <a:ext cx="1224000" cy="432000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hlinkClick r:id="" action="ppaction://noaction"/>
            <a:extLst>
              <a:ext uri="{FF2B5EF4-FFF2-40B4-BE49-F238E27FC236}">
                <a16:creationId xmlns:a16="http://schemas.microsoft.com/office/drawing/2014/main" id="{22E6DD5C-CF42-4DF6-8DB5-22096BCDEB4A}"/>
              </a:ext>
            </a:extLst>
          </p:cNvPr>
          <p:cNvSpPr txBox="1"/>
          <p:nvPr userDrawn="1"/>
        </p:nvSpPr>
        <p:spPr>
          <a:xfrm>
            <a:off x="2808319" y="-27534"/>
            <a:ext cx="1260000" cy="432000"/>
          </a:xfrm>
          <a:prstGeom prst="rect">
            <a:avLst/>
          </a:prstGeom>
          <a:solidFill>
            <a:srgbClr val="8C8C8C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3502635" y="-27484"/>
            <a:ext cx="1260000" cy="432000"/>
          </a:xfrm>
          <a:prstGeom prst="rect">
            <a:avLst/>
          </a:prstGeom>
          <a:solidFill>
            <a:srgbClr val="919191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7329" y="59558"/>
            <a:ext cx="137556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200" b="1" dirty="0">
                <a:solidFill>
                  <a:srgbClr val="FF0000"/>
                </a:solidFill>
                <a:latin typeface="+mn-lt"/>
                <a:cs typeface="Arial" panose="020B0604020202020204" pitchFamily="34" charset="0"/>
              </a:rPr>
              <a:t>Конкурентный </a:t>
            </a:r>
          </a:p>
          <a:p>
            <a:pPr>
              <a:lnSpc>
                <a:spcPts val="1000"/>
              </a:lnSpc>
            </a:pPr>
            <a:r>
              <a:rPr lang="ru-RU" sz="1200" b="1" dirty="0">
                <a:solidFill>
                  <a:srgbClr val="FF0000"/>
                </a:solidFill>
                <a:latin typeface="+mn-lt"/>
                <a:cs typeface="Arial" panose="020B0604020202020204" pitchFamily="34" charset="0"/>
              </a:rPr>
              <a:t>анализ</a:t>
            </a:r>
          </a:p>
        </p:txBody>
      </p:sp>
      <p:sp>
        <p:nvSpPr>
          <p:cNvPr id="54" name="TextBox 53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1406382" y="116632"/>
            <a:ext cx="602767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C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5" name="TextBox 54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131736" y="116632"/>
            <a:ext cx="66522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B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6" name="TextBox 55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887674" y="116632"/>
            <a:ext cx="527394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FIX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7" name="TextBox 56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3627560" y="120704"/>
            <a:ext cx="77996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В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8" name="TextBox 57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4318253" y="-31272"/>
            <a:ext cx="1634015" cy="432000"/>
          </a:xfrm>
          <a:prstGeom prst="rect">
            <a:avLst/>
          </a:prstGeom>
          <a:solidFill>
            <a:srgbClr val="969696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1335335" y="115888"/>
            <a:ext cx="171583" cy="171579"/>
            <a:chOff x="6384032" y="1465802"/>
            <a:chExt cx="90001" cy="89999"/>
          </a:xfrm>
        </p:grpSpPr>
        <p:sp>
          <p:nvSpPr>
            <p:cNvPr id="60" name="Овал 59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-38053" y="115888"/>
            <a:ext cx="183755" cy="183751"/>
            <a:chOff x="6384032" y="1465802"/>
            <a:chExt cx="90001" cy="89999"/>
          </a:xfrm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E30512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FF0000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7" name="Группа 66"/>
          <p:cNvGrpSpPr/>
          <p:nvPr userDrawn="1"/>
        </p:nvGrpSpPr>
        <p:grpSpPr>
          <a:xfrm>
            <a:off x="2074742" y="115888"/>
            <a:ext cx="171583" cy="171579"/>
            <a:chOff x="6384032" y="1465802"/>
            <a:chExt cx="90001" cy="89999"/>
          </a:xfrm>
        </p:grpSpPr>
        <p:sp>
          <p:nvSpPr>
            <p:cNvPr id="68" name="Овал 67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0" name="Овал 69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1" name="Группа 70"/>
          <p:cNvGrpSpPr/>
          <p:nvPr userDrawn="1"/>
        </p:nvGrpSpPr>
        <p:grpSpPr>
          <a:xfrm>
            <a:off x="2823372" y="115888"/>
            <a:ext cx="171583" cy="171579"/>
            <a:chOff x="6384032" y="1465802"/>
            <a:chExt cx="90001" cy="89999"/>
          </a:xfrm>
        </p:grpSpPr>
        <p:sp>
          <p:nvSpPr>
            <p:cNvPr id="72" name="Овал 71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4" name="Овал 113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5" name="Группа 114"/>
          <p:cNvGrpSpPr/>
          <p:nvPr userDrawn="1"/>
        </p:nvGrpSpPr>
        <p:grpSpPr>
          <a:xfrm>
            <a:off x="3543539" y="115888"/>
            <a:ext cx="171583" cy="171579"/>
            <a:chOff x="6384032" y="1465802"/>
            <a:chExt cx="90001" cy="89999"/>
          </a:xfrm>
        </p:grpSpPr>
        <p:sp>
          <p:nvSpPr>
            <p:cNvPr id="116" name="Овал 115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8" name="Овал 117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19" name="TextBox 118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456519" y="112083"/>
            <a:ext cx="151360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ложения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20" name="Группа 119"/>
          <p:cNvGrpSpPr/>
          <p:nvPr userDrawn="1"/>
        </p:nvGrpSpPr>
        <p:grpSpPr>
          <a:xfrm>
            <a:off x="4372498" y="115888"/>
            <a:ext cx="171583" cy="171579"/>
            <a:chOff x="6384032" y="1465802"/>
            <a:chExt cx="90001" cy="89999"/>
          </a:xfrm>
        </p:grpSpPr>
        <p:sp>
          <p:nvSpPr>
            <p:cNvPr id="121" name="Овал 120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2" name="Овал 121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3" name="Овал 122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3" name="Прямая соединительная линия 2"/>
          <p:cNvCxnSpPr>
            <a:endCxn id="68" idx="2"/>
          </p:cNvCxnSpPr>
          <p:nvPr userDrawn="1"/>
        </p:nvCxnSpPr>
        <p:spPr>
          <a:xfrm>
            <a:off x="1842762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>
            <a:endCxn id="72" idx="2"/>
          </p:cNvCxnSpPr>
          <p:nvPr userDrawn="1"/>
        </p:nvCxnSpPr>
        <p:spPr>
          <a:xfrm>
            <a:off x="2630572" y="199808"/>
            <a:ext cx="192800" cy="187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 userDrawn="1"/>
        </p:nvCxnSpPr>
        <p:spPr>
          <a:xfrm>
            <a:off x="3328731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 userDrawn="1"/>
        </p:nvCxnSpPr>
        <p:spPr>
          <a:xfrm>
            <a:off x="4154374" y="197936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 userDrawn="1"/>
        </p:nvCxnSpPr>
        <p:spPr>
          <a:xfrm>
            <a:off x="164064" y="210222"/>
            <a:ext cx="1192936" cy="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0166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142">
          <p15:clr>
            <a:srgbClr val="FBAE40"/>
          </p15:clr>
        </p15:guide>
        <p15:guide id="3" orient="horz" pos="73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orient="horz" pos="2360">
          <p15:clr>
            <a:srgbClr val="FBAE40"/>
          </p15:clr>
        </p15:guide>
        <p15:guide id="6" orient="horz" pos="2460">
          <p15:clr>
            <a:srgbClr val="FBAE40"/>
          </p15:clr>
        </p15:guide>
        <p15:guide id="7" orient="horz" pos="256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FEBA5A60-81BB-44F1-9637-A18394B5220C}"/>
              </a:ext>
            </a:extLst>
          </p:cNvPr>
          <p:cNvGrpSpPr/>
          <p:nvPr userDrawn="1"/>
        </p:nvGrpSpPr>
        <p:grpSpPr>
          <a:xfrm>
            <a:off x="11208568" y="6417332"/>
            <a:ext cx="774212" cy="193007"/>
            <a:chOff x="-3138818" y="3304987"/>
            <a:chExt cx="1687512" cy="420688"/>
          </a:xfrm>
        </p:grpSpPr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E9799C2B-2CD3-4909-B0E4-E7F1A9643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8818" y="3304987"/>
              <a:ext cx="300038" cy="420688"/>
            </a:xfrm>
            <a:custGeom>
              <a:avLst/>
              <a:gdLst>
                <a:gd name="T0" fmla="*/ 136 w 272"/>
                <a:gd name="T1" fmla="*/ 0 h 381"/>
                <a:gd name="T2" fmla="*/ 46 w 272"/>
                <a:gd name="T3" fmla="*/ 73 h 381"/>
                <a:gd name="T4" fmla="*/ 0 w 272"/>
                <a:gd name="T5" fmla="*/ 231 h 381"/>
                <a:gd name="T6" fmla="*/ 136 w 272"/>
                <a:gd name="T7" fmla="*/ 381 h 381"/>
                <a:gd name="T8" fmla="*/ 272 w 272"/>
                <a:gd name="T9" fmla="*/ 231 h 381"/>
                <a:gd name="T10" fmla="*/ 226 w 272"/>
                <a:gd name="T11" fmla="*/ 73 h 381"/>
                <a:gd name="T12" fmla="*/ 136 w 272"/>
                <a:gd name="T13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381">
                  <a:moveTo>
                    <a:pt x="136" y="0"/>
                  </a:moveTo>
                  <a:cubicBezTo>
                    <a:pt x="107" y="0"/>
                    <a:pt x="74" y="27"/>
                    <a:pt x="46" y="73"/>
                  </a:cubicBezTo>
                  <a:cubicBezTo>
                    <a:pt x="17" y="121"/>
                    <a:pt x="0" y="179"/>
                    <a:pt x="0" y="231"/>
                  </a:cubicBezTo>
                  <a:cubicBezTo>
                    <a:pt x="0" y="305"/>
                    <a:pt x="42" y="381"/>
                    <a:pt x="136" y="381"/>
                  </a:cubicBezTo>
                  <a:cubicBezTo>
                    <a:pt x="230" y="381"/>
                    <a:pt x="272" y="305"/>
                    <a:pt x="272" y="231"/>
                  </a:cubicBezTo>
                  <a:cubicBezTo>
                    <a:pt x="272" y="179"/>
                    <a:pt x="255" y="121"/>
                    <a:pt x="226" y="73"/>
                  </a:cubicBezTo>
                  <a:cubicBezTo>
                    <a:pt x="198" y="27"/>
                    <a:pt x="164" y="0"/>
                    <a:pt x="136" y="0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3FEFE00C-0E8C-4331-A50C-A97C69B00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8381" y="3327212"/>
              <a:ext cx="322263" cy="374650"/>
            </a:xfrm>
            <a:custGeom>
              <a:avLst/>
              <a:gdLst>
                <a:gd name="T0" fmla="*/ 0 w 203"/>
                <a:gd name="T1" fmla="*/ 64 h 236"/>
                <a:gd name="T2" fmla="*/ 66 w 203"/>
                <a:gd name="T3" fmla="*/ 64 h 236"/>
                <a:gd name="T4" fmla="*/ 66 w 203"/>
                <a:gd name="T5" fmla="*/ 236 h 236"/>
                <a:gd name="T6" fmla="*/ 137 w 203"/>
                <a:gd name="T7" fmla="*/ 236 h 236"/>
                <a:gd name="T8" fmla="*/ 137 w 203"/>
                <a:gd name="T9" fmla="*/ 64 h 236"/>
                <a:gd name="T10" fmla="*/ 203 w 203"/>
                <a:gd name="T11" fmla="*/ 64 h 236"/>
                <a:gd name="T12" fmla="*/ 203 w 203"/>
                <a:gd name="T13" fmla="*/ 0 h 236"/>
                <a:gd name="T14" fmla="*/ 0 w 203"/>
                <a:gd name="T15" fmla="*/ 0 h 236"/>
                <a:gd name="T16" fmla="*/ 0 w 203"/>
                <a:gd name="T17" fmla="*/ 6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236">
                  <a:moveTo>
                    <a:pt x="0" y="64"/>
                  </a:moveTo>
                  <a:lnTo>
                    <a:pt x="66" y="64"/>
                  </a:lnTo>
                  <a:lnTo>
                    <a:pt x="66" y="236"/>
                  </a:lnTo>
                  <a:lnTo>
                    <a:pt x="137" y="236"/>
                  </a:lnTo>
                  <a:lnTo>
                    <a:pt x="137" y="64"/>
                  </a:lnTo>
                  <a:lnTo>
                    <a:pt x="203" y="64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57286790-9B6E-4495-8E13-11CD2362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8181" y="3327212"/>
              <a:ext cx="396875" cy="374650"/>
            </a:xfrm>
            <a:custGeom>
              <a:avLst/>
              <a:gdLst>
                <a:gd name="T0" fmla="*/ 211 w 360"/>
                <a:gd name="T1" fmla="*/ 92 h 340"/>
                <a:gd name="T2" fmla="*/ 360 w 360"/>
                <a:gd name="T3" fmla="*/ 92 h 340"/>
                <a:gd name="T4" fmla="*/ 360 w 360"/>
                <a:gd name="T5" fmla="*/ 0 h 340"/>
                <a:gd name="T6" fmla="*/ 211 w 360"/>
                <a:gd name="T7" fmla="*/ 0 h 340"/>
                <a:gd name="T8" fmla="*/ 0 w 360"/>
                <a:gd name="T9" fmla="*/ 170 h 340"/>
                <a:gd name="T10" fmla="*/ 211 w 360"/>
                <a:gd name="T11" fmla="*/ 340 h 340"/>
                <a:gd name="T12" fmla="*/ 360 w 360"/>
                <a:gd name="T13" fmla="*/ 340 h 340"/>
                <a:gd name="T14" fmla="*/ 360 w 360"/>
                <a:gd name="T15" fmla="*/ 249 h 340"/>
                <a:gd name="T16" fmla="*/ 211 w 360"/>
                <a:gd name="T17" fmla="*/ 249 h 340"/>
                <a:gd name="T18" fmla="*/ 105 w 360"/>
                <a:gd name="T19" fmla="*/ 170 h 340"/>
                <a:gd name="T20" fmla="*/ 211 w 360"/>
                <a:gd name="T21" fmla="*/ 9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0" h="340">
                  <a:moveTo>
                    <a:pt x="211" y="92"/>
                  </a:moveTo>
                  <a:cubicBezTo>
                    <a:pt x="360" y="92"/>
                    <a:pt x="360" y="92"/>
                    <a:pt x="360" y="92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73" y="0"/>
                    <a:pt x="0" y="69"/>
                    <a:pt x="0" y="170"/>
                  </a:cubicBezTo>
                  <a:cubicBezTo>
                    <a:pt x="0" y="272"/>
                    <a:pt x="73" y="340"/>
                    <a:pt x="211" y="340"/>
                  </a:cubicBezTo>
                  <a:cubicBezTo>
                    <a:pt x="360" y="340"/>
                    <a:pt x="360" y="340"/>
                    <a:pt x="360" y="340"/>
                  </a:cubicBezTo>
                  <a:cubicBezTo>
                    <a:pt x="360" y="249"/>
                    <a:pt x="360" y="249"/>
                    <a:pt x="360" y="249"/>
                  </a:cubicBezTo>
                  <a:cubicBezTo>
                    <a:pt x="211" y="249"/>
                    <a:pt x="211" y="249"/>
                    <a:pt x="211" y="249"/>
                  </a:cubicBezTo>
                  <a:cubicBezTo>
                    <a:pt x="147" y="249"/>
                    <a:pt x="105" y="226"/>
                    <a:pt x="105" y="170"/>
                  </a:cubicBezTo>
                  <a:cubicBezTo>
                    <a:pt x="105" y="115"/>
                    <a:pt x="147" y="92"/>
                    <a:pt x="211" y="92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67DF37DA-D8CF-4A34-8D88-B3381ED85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6068" y="3327212"/>
              <a:ext cx="517525" cy="374650"/>
            </a:xfrm>
            <a:custGeom>
              <a:avLst/>
              <a:gdLst>
                <a:gd name="T0" fmla="*/ 201 w 326"/>
                <a:gd name="T1" fmla="*/ 0 h 236"/>
                <a:gd name="T2" fmla="*/ 163 w 326"/>
                <a:gd name="T3" fmla="*/ 141 h 236"/>
                <a:gd name="T4" fmla="*/ 125 w 326"/>
                <a:gd name="T5" fmla="*/ 0 h 236"/>
                <a:gd name="T6" fmla="*/ 0 w 326"/>
                <a:gd name="T7" fmla="*/ 0 h 236"/>
                <a:gd name="T8" fmla="*/ 0 w 326"/>
                <a:gd name="T9" fmla="*/ 236 h 236"/>
                <a:gd name="T10" fmla="*/ 71 w 326"/>
                <a:gd name="T11" fmla="*/ 236 h 236"/>
                <a:gd name="T12" fmla="*/ 71 w 326"/>
                <a:gd name="T13" fmla="*/ 44 h 236"/>
                <a:gd name="T14" fmla="*/ 122 w 326"/>
                <a:gd name="T15" fmla="*/ 236 h 236"/>
                <a:gd name="T16" fmla="*/ 204 w 326"/>
                <a:gd name="T17" fmla="*/ 236 h 236"/>
                <a:gd name="T18" fmla="*/ 255 w 326"/>
                <a:gd name="T19" fmla="*/ 44 h 236"/>
                <a:gd name="T20" fmla="*/ 255 w 326"/>
                <a:gd name="T21" fmla="*/ 236 h 236"/>
                <a:gd name="T22" fmla="*/ 326 w 326"/>
                <a:gd name="T23" fmla="*/ 236 h 236"/>
                <a:gd name="T24" fmla="*/ 326 w 326"/>
                <a:gd name="T25" fmla="*/ 0 h 236"/>
                <a:gd name="T26" fmla="*/ 201 w 326"/>
                <a:gd name="T27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" h="236">
                  <a:moveTo>
                    <a:pt x="201" y="0"/>
                  </a:moveTo>
                  <a:lnTo>
                    <a:pt x="163" y="141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36"/>
                  </a:lnTo>
                  <a:lnTo>
                    <a:pt x="71" y="236"/>
                  </a:lnTo>
                  <a:lnTo>
                    <a:pt x="71" y="44"/>
                  </a:lnTo>
                  <a:lnTo>
                    <a:pt x="122" y="236"/>
                  </a:lnTo>
                  <a:lnTo>
                    <a:pt x="204" y="236"/>
                  </a:lnTo>
                  <a:lnTo>
                    <a:pt x="255" y="44"/>
                  </a:lnTo>
                  <a:lnTo>
                    <a:pt x="255" y="236"/>
                  </a:lnTo>
                  <a:lnTo>
                    <a:pt x="326" y="236"/>
                  </a:lnTo>
                  <a:lnTo>
                    <a:pt x="326" y="0"/>
                  </a:lnTo>
                  <a:lnTo>
                    <a:pt x="201" y="0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49" name="TextBox 48">
            <a:hlinkClick r:id="" action="ppaction://noaction"/>
            <a:extLst>
              <a:ext uri="{FF2B5EF4-FFF2-40B4-BE49-F238E27FC236}">
                <a16:creationId xmlns:a16="http://schemas.microsoft.com/office/drawing/2014/main" id="{D8733E21-CE34-4A1A-9B65-6AC7795AD250}"/>
              </a:ext>
            </a:extLst>
          </p:cNvPr>
          <p:cNvSpPr txBox="1"/>
          <p:nvPr userDrawn="1"/>
        </p:nvSpPr>
        <p:spPr>
          <a:xfrm>
            <a:off x="1343472" y="-27534"/>
            <a:ext cx="1224000" cy="432000"/>
          </a:xfrm>
          <a:prstGeom prst="rect">
            <a:avLst/>
          </a:prstGeom>
          <a:solidFill>
            <a:srgbClr val="828282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hlinkClick r:id="" action="ppaction://noaction"/>
            <a:extLst>
              <a:ext uri="{FF2B5EF4-FFF2-40B4-BE49-F238E27FC236}">
                <a16:creationId xmlns:a16="http://schemas.microsoft.com/office/drawing/2014/main" id="{E6AE5F0D-98E2-4268-B781-F00D5978873E}"/>
              </a:ext>
            </a:extLst>
          </p:cNvPr>
          <p:cNvSpPr txBox="1"/>
          <p:nvPr userDrawn="1"/>
        </p:nvSpPr>
        <p:spPr>
          <a:xfrm>
            <a:off x="2066143" y="-27534"/>
            <a:ext cx="1224000" cy="432000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hlinkClick r:id="" action="ppaction://noaction"/>
            <a:extLst>
              <a:ext uri="{FF2B5EF4-FFF2-40B4-BE49-F238E27FC236}">
                <a16:creationId xmlns:a16="http://schemas.microsoft.com/office/drawing/2014/main" id="{22E6DD5C-CF42-4DF6-8DB5-22096BCDEB4A}"/>
              </a:ext>
            </a:extLst>
          </p:cNvPr>
          <p:cNvSpPr txBox="1"/>
          <p:nvPr userDrawn="1"/>
        </p:nvSpPr>
        <p:spPr>
          <a:xfrm>
            <a:off x="2808319" y="-27534"/>
            <a:ext cx="1260000" cy="432000"/>
          </a:xfrm>
          <a:prstGeom prst="rect">
            <a:avLst/>
          </a:prstGeom>
          <a:solidFill>
            <a:srgbClr val="8C8C8C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3502635" y="-27484"/>
            <a:ext cx="1260000" cy="432000"/>
          </a:xfrm>
          <a:prstGeom prst="rect">
            <a:avLst/>
          </a:prstGeom>
          <a:solidFill>
            <a:srgbClr val="919191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7329" y="59558"/>
            <a:ext cx="137556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Конкурентный </a:t>
            </a:r>
          </a:p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из</a:t>
            </a:r>
          </a:p>
        </p:txBody>
      </p:sp>
      <p:sp>
        <p:nvSpPr>
          <p:cNvPr id="54" name="TextBox 53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1406382" y="116632"/>
            <a:ext cx="602767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rgbClr val="FF0000"/>
                </a:solidFill>
                <a:latin typeface="+mn-lt"/>
                <a:cs typeface="Arial" panose="020B0604020202020204" pitchFamily="34" charset="0"/>
              </a:rPr>
              <a:t>B2C</a:t>
            </a:r>
            <a:endParaRPr lang="ru-RU" sz="1600" b="1" dirty="0">
              <a:solidFill>
                <a:srgbClr val="FF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5" name="TextBox 54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131736" y="116632"/>
            <a:ext cx="66522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B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6" name="TextBox 55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887674" y="116632"/>
            <a:ext cx="527394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FIX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7" name="TextBox 56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3627560" y="120704"/>
            <a:ext cx="77996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В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8" name="TextBox 57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4318253" y="-31272"/>
            <a:ext cx="1634015" cy="432000"/>
          </a:xfrm>
          <a:prstGeom prst="rect">
            <a:avLst/>
          </a:prstGeom>
          <a:solidFill>
            <a:srgbClr val="969696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-28219" y="115888"/>
            <a:ext cx="171583" cy="171579"/>
            <a:chOff x="6384032" y="1465802"/>
            <a:chExt cx="90001" cy="89999"/>
          </a:xfrm>
        </p:grpSpPr>
        <p:sp>
          <p:nvSpPr>
            <p:cNvPr id="60" name="Овал 59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315409" y="115888"/>
            <a:ext cx="183755" cy="183751"/>
            <a:chOff x="6384032" y="1465802"/>
            <a:chExt cx="90001" cy="89999"/>
          </a:xfrm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E30512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FF0000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7" name="Группа 66"/>
          <p:cNvGrpSpPr/>
          <p:nvPr userDrawn="1"/>
        </p:nvGrpSpPr>
        <p:grpSpPr>
          <a:xfrm>
            <a:off x="2074742" y="115888"/>
            <a:ext cx="171583" cy="171579"/>
            <a:chOff x="6384032" y="1465802"/>
            <a:chExt cx="90001" cy="89999"/>
          </a:xfrm>
        </p:grpSpPr>
        <p:sp>
          <p:nvSpPr>
            <p:cNvPr id="68" name="Овал 67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0" name="Овал 69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1" name="Группа 70"/>
          <p:cNvGrpSpPr/>
          <p:nvPr userDrawn="1"/>
        </p:nvGrpSpPr>
        <p:grpSpPr>
          <a:xfrm>
            <a:off x="2823372" y="115888"/>
            <a:ext cx="171583" cy="171579"/>
            <a:chOff x="6384032" y="1465802"/>
            <a:chExt cx="90001" cy="89999"/>
          </a:xfrm>
        </p:grpSpPr>
        <p:sp>
          <p:nvSpPr>
            <p:cNvPr id="72" name="Овал 71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4" name="Овал 113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5" name="Группа 114"/>
          <p:cNvGrpSpPr/>
          <p:nvPr userDrawn="1"/>
        </p:nvGrpSpPr>
        <p:grpSpPr>
          <a:xfrm>
            <a:off x="3543539" y="115888"/>
            <a:ext cx="171583" cy="171579"/>
            <a:chOff x="6384032" y="1465802"/>
            <a:chExt cx="90001" cy="89999"/>
          </a:xfrm>
        </p:grpSpPr>
        <p:sp>
          <p:nvSpPr>
            <p:cNvPr id="116" name="Овал 115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8" name="Овал 117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19" name="TextBox 118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456519" y="112083"/>
            <a:ext cx="151360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ложения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20" name="Группа 119"/>
          <p:cNvGrpSpPr/>
          <p:nvPr userDrawn="1"/>
        </p:nvGrpSpPr>
        <p:grpSpPr>
          <a:xfrm>
            <a:off x="4372498" y="115888"/>
            <a:ext cx="171583" cy="171579"/>
            <a:chOff x="6384032" y="1465802"/>
            <a:chExt cx="90001" cy="89999"/>
          </a:xfrm>
        </p:grpSpPr>
        <p:sp>
          <p:nvSpPr>
            <p:cNvPr id="121" name="Овал 120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2" name="Овал 121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3" name="Овал 122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44" name="Прямая соединительная линия 43"/>
          <p:cNvCxnSpPr/>
          <p:nvPr userDrawn="1"/>
        </p:nvCxnSpPr>
        <p:spPr>
          <a:xfrm>
            <a:off x="1842762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 userDrawn="1"/>
        </p:nvCxnSpPr>
        <p:spPr>
          <a:xfrm>
            <a:off x="2630572" y="199808"/>
            <a:ext cx="192800" cy="187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 userDrawn="1"/>
        </p:nvCxnSpPr>
        <p:spPr>
          <a:xfrm>
            <a:off x="3328731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 userDrawn="1"/>
        </p:nvCxnSpPr>
        <p:spPr>
          <a:xfrm>
            <a:off x="4154374" y="197936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 userDrawn="1"/>
        </p:nvCxnSpPr>
        <p:spPr>
          <a:xfrm>
            <a:off x="164064" y="210222"/>
            <a:ext cx="1192936" cy="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5523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142">
          <p15:clr>
            <a:srgbClr val="FBAE40"/>
          </p15:clr>
        </p15:guide>
        <p15:guide id="3" orient="horz" pos="73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orient="horz" pos="2360">
          <p15:clr>
            <a:srgbClr val="FBAE40"/>
          </p15:clr>
        </p15:guide>
        <p15:guide id="6" orient="horz" pos="2460">
          <p15:clr>
            <a:srgbClr val="FBAE40"/>
          </p15:clr>
        </p15:guide>
        <p15:guide id="7" orient="horz" pos="256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FEBA5A60-81BB-44F1-9637-A18394B5220C}"/>
              </a:ext>
            </a:extLst>
          </p:cNvPr>
          <p:cNvGrpSpPr/>
          <p:nvPr userDrawn="1"/>
        </p:nvGrpSpPr>
        <p:grpSpPr>
          <a:xfrm>
            <a:off x="11208568" y="6417332"/>
            <a:ext cx="774212" cy="193007"/>
            <a:chOff x="-3138818" y="3304987"/>
            <a:chExt cx="1687512" cy="420688"/>
          </a:xfrm>
        </p:grpSpPr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E9799C2B-2CD3-4909-B0E4-E7F1A9643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8818" y="3304987"/>
              <a:ext cx="300038" cy="420688"/>
            </a:xfrm>
            <a:custGeom>
              <a:avLst/>
              <a:gdLst>
                <a:gd name="T0" fmla="*/ 136 w 272"/>
                <a:gd name="T1" fmla="*/ 0 h 381"/>
                <a:gd name="T2" fmla="*/ 46 w 272"/>
                <a:gd name="T3" fmla="*/ 73 h 381"/>
                <a:gd name="T4" fmla="*/ 0 w 272"/>
                <a:gd name="T5" fmla="*/ 231 h 381"/>
                <a:gd name="T6" fmla="*/ 136 w 272"/>
                <a:gd name="T7" fmla="*/ 381 h 381"/>
                <a:gd name="T8" fmla="*/ 272 w 272"/>
                <a:gd name="T9" fmla="*/ 231 h 381"/>
                <a:gd name="T10" fmla="*/ 226 w 272"/>
                <a:gd name="T11" fmla="*/ 73 h 381"/>
                <a:gd name="T12" fmla="*/ 136 w 272"/>
                <a:gd name="T13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381">
                  <a:moveTo>
                    <a:pt x="136" y="0"/>
                  </a:moveTo>
                  <a:cubicBezTo>
                    <a:pt x="107" y="0"/>
                    <a:pt x="74" y="27"/>
                    <a:pt x="46" y="73"/>
                  </a:cubicBezTo>
                  <a:cubicBezTo>
                    <a:pt x="17" y="121"/>
                    <a:pt x="0" y="179"/>
                    <a:pt x="0" y="231"/>
                  </a:cubicBezTo>
                  <a:cubicBezTo>
                    <a:pt x="0" y="305"/>
                    <a:pt x="42" y="381"/>
                    <a:pt x="136" y="381"/>
                  </a:cubicBezTo>
                  <a:cubicBezTo>
                    <a:pt x="230" y="381"/>
                    <a:pt x="272" y="305"/>
                    <a:pt x="272" y="231"/>
                  </a:cubicBezTo>
                  <a:cubicBezTo>
                    <a:pt x="272" y="179"/>
                    <a:pt x="255" y="121"/>
                    <a:pt x="226" y="73"/>
                  </a:cubicBezTo>
                  <a:cubicBezTo>
                    <a:pt x="198" y="27"/>
                    <a:pt x="164" y="0"/>
                    <a:pt x="136" y="0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3FEFE00C-0E8C-4331-A50C-A97C69B00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8381" y="3327212"/>
              <a:ext cx="322263" cy="374650"/>
            </a:xfrm>
            <a:custGeom>
              <a:avLst/>
              <a:gdLst>
                <a:gd name="T0" fmla="*/ 0 w 203"/>
                <a:gd name="T1" fmla="*/ 64 h 236"/>
                <a:gd name="T2" fmla="*/ 66 w 203"/>
                <a:gd name="T3" fmla="*/ 64 h 236"/>
                <a:gd name="T4" fmla="*/ 66 w 203"/>
                <a:gd name="T5" fmla="*/ 236 h 236"/>
                <a:gd name="T6" fmla="*/ 137 w 203"/>
                <a:gd name="T7" fmla="*/ 236 h 236"/>
                <a:gd name="T8" fmla="*/ 137 w 203"/>
                <a:gd name="T9" fmla="*/ 64 h 236"/>
                <a:gd name="T10" fmla="*/ 203 w 203"/>
                <a:gd name="T11" fmla="*/ 64 h 236"/>
                <a:gd name="T12" fmla="*/ 203 w 203"/>
                <a:gd name="T13" fmla="*/ 0 h 236"/>
                <a:gd name="T14" fmla="*/ 0 w 203"/>
                <a:gd name="T15" fmla="*/ 0 h 236"/>
                <a:gd name="T16" fmla="*/ 0 w 203"/>
                <a:gd name="T17" fmla="*/ 6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236">
                  <a:moveTo>
                    <a:pt x="0" y="64"/>
                  </a:moveTo>
                  <a:lnTo>
                    <a:pt x="66" y="64"/>
                  </a:lnTo>
                  <a:lnTo>
                    <a:pt x="66" y="236"/>
                  </a:lnTo>
                  <a:lnTo>
                    <a:pt x="137" y="236"/>
                  </a:lnTo>
                  <a:lnTo>
                    <a:pt x="137" y="64"/>
                  </a:lnTo>
                  <a:lnTo>
                    <a:pt x="203" y="64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57286790-9B6E-4495-8E13-11CD2362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8181" y="3327212"/>
              <a:ext cx="396875" cy="374650"/>
            </a:xfrm>
            <a:custGeom>
              <a:avLst/>
              <a:gdLst>
                <a:gd name="T0" fmla="*/ 211 w 360"/>
                <a:gd name="T1" fmla="*/ 92 h 340"/>
                <a:gd name="T2" fmla="*/ 360 w 360"/>
                <a:gd name="T3" fmla="*/ 92 h 340"/>
                <a:gd name="T4" fmla="*/ 360 w 360"/>
                <a:gd name="T5" fmla="*/ 0 h 340"/>
                <a:gd name="T6" fmla="*/ 211 w 360"/>
                <a:gd name="T7" fmla="*/ 0 h 340"/>
                <a:gd name="T8" fmla="*/ 0 w 360"/>
                <a:gd name="T9" fmla="*/ 170 h 340"/>
                <a:gd name="T10" fmla="*/ 211 w 360"/>
                <a:gd name="T11" fmla="*/ 340 h 340"/>
                <a:gd name="T12" fmla="*/ 360 w 360"/>
                <a:gd name="T13" fmla="*/ 340 h 340"/>
                <a:gd name="T14" fmla="*/ 360 w 360"/>
                <a:gd name="T15" fmla="*/ 249 h 340"/>
                <a:gd name="T16" fmla="*/ 211 w 360"/>
                <a:gd name="T17" fmla="*/ 249 h 340"/>
                <a:gd name="T18" fmla="*/ 105 w 360"/>
                <a:gd name="T19" fmla="*/ 170 h 340"/>
                <a:gd name="T20" fmla="*/ 211 w 360"/>
                <a:gd name="T21" fmla="*/ 9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0" h="340">
                  <a:moveTo>
                    <a:pt x="211" y="92"/>
                  </a:moveTo>
                  <a:cubicBezTo>
                    <a:pt x="360" y="92"/>
                    <a:pt x="360" y="92"/>
                    <a:pt x="360" y="92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73" y="0"/>
                    <a:pt x="0" y="69"/>
                    <a:pt x="0" y="170"/>
                  </a:cubicBezTo>
                  <a:cubicBezTo>
                    <a:pt x="0" y="272"/>
                    <a:pt x="73" y="340"/>
                    <a:pt x="211" y="340"/>
                  </a:cubicBezTo>
                  <a:cubicBezTo>
                    <a:pt x="360" y="340"/>
                    <a:pt x="360" y="340"/>
                    <a:pt x="360" y="340"/>
                  </a:cubicBezTo>
                  <a:cubicBezTo>
                    <a:pt x="360" y="249"/>
                    <a:pt x="360" y="249"/>
                    <a:pt x="360" y="249"/>
                  </a:cubicBezTo>
                  <a:cubicBezTo>
                    <a:pt x="211" y="249"/>
                    <a:pt x="211" y="249"/>
                    <a:pt x="211" y="249"/>
                  </a:cubicBezTo>
                  <a:cubicBezTo>
                    <a:pt x="147" y="249"/>
                    <a:pt x="105" y="226"/>
                    <a:pt x="105" y="170"/>
                  </a:cubicBezTo>
                  <a:cubicBezTo>
                    <a:pt x="105" y="115"/>
                    <a:pt x="147" y="92"/>
                    <a:pt x="211" y="92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67DF37DA-D8CF-4A34-8D88-B3381ED85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6068" y="3327212"/>
              <a:ext cx="517525" cy="374650"/>
            </a:xfrm>
            <a:custGeom>
              <a:avLst/>
              <a:gdLst>
                <a:gd name="T0" fmla="*/ 201 w 326"/>
                <a:gd name="T1" fmla="*/ 0 h 236"/>
                <a:gd name="T2" fmla="*/ 163 w 326"/>
                <a:gd name="T3" fmla="*/ 141 h 236"/>
                <a:gd name="T4" fmla="*/ 125 w 326"/>
                <a:gd name="T5" fmla="*/ 0 h 236"/>
                <a:gd name="T6" fmla="*/ 0 w 326"/>
                <a:gd name="T7" fmla="*/ 0 h 236"/>
                <a:gd name="T8" fmla="*/ 0 w 326"/>
                <a:gd name="T9" fmla="*/ 236 h 236"/>
                <a:gd name="T10" fmla="*/ 71 w 326"/>
                <a:gd name="T11" fmla="*/ 236 h 236"/>
                <a:gd name="T12" fmla="*/ 71 w 326"/>
                <a:gd name="T13" fmla="*/ 44 h 236"/>
                <a:gd name="T14" fmla="*/ 122 w 326"/>
                <a:gd name="T15" fmla="*/ 236 h 236"/>
                <a:gd name="T16" fmla="*/ 204 w 326"/>
                <a:gd name="T17" fmla="*/ 236 h 236"/>
                <a:gd name="T18" fmla="*/ 255 w 326"/>
                <a:gd name="T19" fmla="*/ 44 h 236"/>
                <a:gd name="T20" fmla="*/ 255 w 326"/>
                <a:gd name="T21" fmla="*/ 236 h 236"/>
                <a:gd name="T22" fmla="*/ 326 w 326"/>
                <a:gd name="T23" fmla="*/ 236 h 236"/>
                <a:gd name="T24" fmla="*/ 326 w 326"/>
                <a:gd name="T25" fmla="*/ 0 h 236"/>
                <a:gd name="T26" fmla="*/ 201 w 326"/>
                <a:gd name="T27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" h="236">
                  <a:moveTo>
                    <a:pt x="201" y="0"/>
                  </a:moveTo>
                  <a:lnTo>
                    <a:pt x="163" y="141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36"/>
                  </a:lnTo>
                  <a:lnTo>
                    <a:pt x="71" y="236"/>
                  </a:lnTo>
                  <a:lnTo>
                    <a:pt x="71" y="44"/>
                  </a:lnTo>
                  <a:lnTo>
                    <a:pt x="122" y="236"/>
                  </a:lnTo>
                  <a:lnTo>
                    <a:pt x="204" y="236"/>
                  </a:lnTo>
                  <a:lnTo>
                    <a:pt x="255" y="44"/>
                  </a:lnTo>
                  <a:lnTo>
                    <a:pt x="255" y="236"/>
                  </a:lnTo>
                  <a:lnTo>
                    <a:pt x="326" y="236"/>
                  </a:lnTo>
                  <a:lnTo>
                    <a:pt x="326" y="0"/>
                  </a:lnTo>
                  <a:lnTo>
                    <a:pt x="201" y="0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49" name="TextBox 48">
            <a:hlinkClick r:id="" action="ppaction://noaction"/>
            <a:extLst>
              <a:ext uri="{FF2B5EF4-FFF2-40B4-BE49-F238E27FC236}">
                <a16:creationId xmlns:a16="http://schemas.microsoft.com/office/drawing/2014/main" id="{D8733E21-CE34-4A1A-9B65-6AC7795AD250}"/>
              </a:ext>
            </a:extLst>
          </p:cNvPr>
          <p:cNvSpPr txBox="1"/>
          <p:nvPr userDrawn="1"/>
        </p:nvSpPr>
        <p:spPr>
          <a:xfrm>
            <a:off x="1343472" y="-27534"/>
            <a:ext cx="1224000" cy="432000"/>
          </a:xfrm>
          <a:prstGeom prst="rect">
            <a:avLst/>
          </a:prstGeom>
          <a:solidFill>
            <a:srgbClr val="828282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hlinkClick r:id="" action="ppaction://noaction"/>
            <a:extLst>
              <a:ext uri="{FF2B5EF4-FFF2-40B4-BE49-F238E27FC236}">
                <a16:creationId xmlns:a16="http://schemas.microsoft.com/office/drawing/2014/main" id="{E6AE5F0D-98E2-4268-B781-F00D5978873E}"/>
              </a:ext>
            </a:extLst>
          </p:cNvPr>
          <p:cNvSpPr txBox="1"/>
          <p:nvPr userDrawn="1"/>
        </p:nvSpPr>
        <p:spPr>
          <a:xfrm>
            <a:off x="2066143" y="-27534"/>
            <a:ext cx="1224000" cy="432000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hlinkClick r:id="" action="ppaction://noaction"/>
            <a:extLst>
              <a:ext uri="{FF2B5EF4-FFF2-40B4-BE49-F238E27FC236}">
                <a16:creationId xmlns:a16="http://schemas.microsoft.com/office/drawing/2014/main" id="{22E6DD5C-CF42-4DF6-8DB5-22096BCDEB4A}"/>
              </a:ext>
            </a:extLst>
          </p:cNvPr>
          <p:cNvSpPr txBox="1"/>
          <p:nvPr userDrawn="1"/>
        </p:nvSpPr>
        <p:spPr>
          <a:xfrm>
            <a:off x="2808319" y="-27534"/>
            <a:ext cx="1260000" cy="432000"/>
          </a:xfrm>
          <a:prstGeom prst="rect">
            <a:avLst/>
          </a:prstGeom>
          <a:solidFill>
            <a:srgbClr val="8C8C8C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3502635" y="-27484"/>
            <a:ext cx="1260000" cy="432000"/>
          </a:xfrm>
          <a:prstGeom prst="rect">
            <a:avLst/>
          </a:prstGeom>
          <a:solidFill>
            <a:srgbClr val="919191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7329" y="59558"/>
            <a:ext cx="137556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Конкурентный </a:t>
            </a:r>
          </a:p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из</a:t>
            </a:r>
          </a:p>
        </p:txBody>
      </p:sp>
      <p:sp>
        <p:nvSpPr>
          <p:cNvPr id="54" name="TextBox 53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1406382" y="116632"/>
            <a:ext cx="602767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C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5" name="TextBox 54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131736" y="116632"/>
            <a:ext cx="665223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rgbClr val="FF0000"/>
                </a:solidFill>
                <a:latin typeface="+mn-lt"/>
                <a:cs typeface="Arial" panose="020B0604020202020204" pitchFamily="34" charset="0"/>
              </a:rPr>
              <a:t>B2B</a:t>
            </a:r>
            <a:endParaRPr lang="ru-RU" sz="1600" b="1" dirty="0">
              <a:solidFill>
                <a:srgbClr val="FF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6" name="TextBox 55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887674" y="116632"/>
            <a:ext cx="527394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FIX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7" name="TextBox 56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3627560" y="120704"/>
            <a:ext cx="77996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В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8" name="TextBox 57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4318253" y="-31272"/>
            <a:ext cx="1634015" cy="432000"/>
          </a:xfrm>
          <a:prstGeom prst="rect">
            <a:avLst/>
          </a:prstGeom>
          <a:solidFill>
            <a:srgbClr val="969696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-28219" y="115888"/>
            <a:ext cx="171583" cy="171579"/>
            <a:chOff x="6384032" y="1465802"/>
            <a:chExt cx="90001" cy="89999"/>
          </a:xfrm>
        </p:grpSpPr>
        <p:sp>
          <p:nvSpPr>
            <p:cNvPr id="60" name="Овал 59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2054760" y="104875"/>
            <a:ext cx="183755" cy="183751"/>
            <a:chOff x="6384032" y="1465802"/>
            <a:chExt cx="90001" cy="89999"/>
          </a:xfrm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E30512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FF0000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7" name="Группа 66"/>
          <p:cNvGrpSpPr/>
          <p:nvPr userDrawn="1"/>
        </p:nvGrpSpPr>
        <p:grpSpPr>
          <a:xfrm>
            <a:off x="1351909" y="120704"/>
            <a:ext cx="171583" cy="171579"/>
            <a:chOff x="6384032" y="1465802"/>
            <a:chExt cx="90001" cy="89999"/>
          </a:xfrm>
        </p:grpSpPr>
        <p:sp>
          <p:nvSpPr>
            <p:cNvPr id="68" name="Овал 67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0" name="Овал 69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1" name="Группа 70"/>
          <p:cNvGrpSpPr/>
          <p:nvPr userDrawn="1"/>
        </p:nvGrpSpPr>
        <p:grpSpPr>
          <a:xfrm>
            <a:off x="2823372" y="115888"/>
            <a:ext cx="171583" cy="171579"/>
            <a:chOff x="6384032" y="1465802"/>
            <a:chExt cx="90001" cy="89999"/>
          </a:xfrm>
        </p:grpSpPr>
        <p:sp>
          <p:nvSpPr>
            <p:cNvPr id="72" name="Овал 71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4" name="Овал 113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5" name="Группа 114"/>
          <p:cNvGrpSpPr/>
          <p:nvPr userDrawn="1"/>
        </p:nvGrpSpPr>
        <p:grpSpPr>
          <a:xfrm>
            <a:off x="3543539" y="115888"/>
            <a:ext cx="171583" cy="171579"/>
            <a:chOff x="6384032" y="1465802"/>
            <a:chExt cx="90001" cy="89999"/>
          </a:xfrm>
        </p:grpSpPr>
        <p:sp>
          <p:nvSpPr>
            <p:cNvPr id="116" name="Овал 115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8" name="Овал 117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19" name="TextBox 118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456519" y="112083"/>
            <a:ext cx="151360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ложения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20" name="Группа 119"/>
          <p:cNvGrpSpPr/>
          <p:nvPr userDrawn="1"/>
        </p:nvGrpSpPr>
        <p:grpSpPr>
          <a:xfrm>
            <a:off x="4372498" y="115888"/>
            <a:ext cx="171583" cy="171579"/>
            <a:chOff x="6384032" y="1465802"/>
            <a:chExt cx="90001" cy="89999"/>
          </a:xfrm>
        </p:grpSpPr>
        <p:sp>
          <p:nvSpPr>
            <p:cNvPr id="121" name="Овал 120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2" name="Овал 121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3" name="Овал 122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44" name="Прямая соединительная линия 43"/>
          <p:cNvCxnSpPr/>
          <p:nvPr userDrawn="1"/>
        </p:nvCxnSpPr>
        <p:spPr>
          <a:xfrm>
            <a:off x="1842762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 userDrawn="1"/>
        </p:nvCxnSpPr>
        <p:spPr>
          <a:xfrm>
            <a:off x="2630572" y="199808"/>
            <a:ext cx="192800" cy="187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 userDrawn="1"/>
        </p:nvCxnSpPr>
        <p:spPr>
          <a:xfrm>
            <a:off x="3328731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 userDrawn="1"/>
        </p:nvCxnSpPr>
        <p:spPr>
          <a:xfrm>
            <a:off x="4154374" y="197936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 userDrawn="1"/>
        </p:nvCxnSpPr>
        <p:spPr>
          <a:xfrm>
            <a:off x="164064" y="210222"/>
            <a:ext cx="1192936" cy="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4396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142">
          <p15:clr>
            <a:srgbClr val="FBAE40"/>
          </p15:clr>
        </p15:guide>
        <p15:guide id="3" orient="horz" pos="73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orient="horz" pos="2360">
          <p15:clr>
            <a:srgbClr val="FBAE40"/>
          </p15:clr>
        </p15:guide>
        <p15:guide id="6" orient="horz" pos="2460">
          <p15:clr>
            <a:srgbClr val="FBAE40"/>
          </p15:clr>
        </p15:guide>
        <p15:guide id="7" orient="horz" pos="25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5"/>
            <a:ext cx="7632700" cy="421957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000"/>
              </a:lnSpc>
              <a:defRPr sz="5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56C3205-F04C-8444-9090-77E3017FFC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B815328-AB68-BC48-85AB-6D766634E1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8501ED-A304-3246-A8D2-A3604BEC9B9A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274416971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FEBA5A60-81BB-44F1-9637-A18394B5220C}"/>
              </a:ext>
            </a:extLst>
          </p:cNvPr>
          <p:cNvGrpSpPr/>
          <p:nvPr userDrawn="1"/>
        </p:nvGrpSpPr>
        <p:grpSpPr>
          <a:xfrm>
            <a:off x="11208568" y="6417332"/>
            <a:ext cx="774212" cy="193007"/>
            <a:chOff x="-3138818" y="3304987"/>
            <a:chExt cx="1687512" cy="420688"/>
          </a:xfrm>
        </p:grpSpPr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E9799C2B-2CD3-4909-B0E4-E7F1A9643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8818" y="3304987"/>
              <a:ext cx="300038" cy="420688"/>
            </a:xfrm>
            <a:custGeom>
              <a:avLst/>
              <a:gdLst>
                <a:gd name="T0" fmla="*/ 136 w 272"/>
                <a:gd name="T1" fmla="*/ 0 h 381"/>
                <a:gd name="T2" fmla="*/ 46 w 272"/>
                <a:gd name="T3" fmla="*/ 73 h 381"/>
                <a:gd name="T4" fmla="*/ 0 w 272"/>
                <a:gd name="T5" fmla="*/ 231 h 381"/>
                <a:gd name="T6" fmla="*/ 136 w 272"/>
                <a:gd name="T7" fmla="*/ 381 h 381"/>
                <a:gd name="T8" fmla="*/ 272 w 272"/>
                <a:gd name="T9" fmla="*/ 231 h 381"/>
                <a:gd name="T10" fmla="*/ 226 w 272"/>
                <a:gd name="T11" fmla="*/ 73 h 381"/>
                <a:gd name="T12" fmla="*/ 136 w 272"/>
                <a:gd name="T13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381">
                  <a:moveTo>
                    <a:pt x="136" y="0"/>
                  </a:moveTo>
                  <a:cubicBezTo>
                    <a:pt x="107" y="0"/>
                    <a:pt x="74" y="27"/>
                    <a:pt x="46" y="73"/>
                  </a:cubicBezTo>
                  <a:cubicBezTo>
                    <a:pt x="17" y="121"/>
                    <a:pt x="0" y="179"/>
                    <a:pt x="0" y="231"/>
                  </a:cubicBezTo>
                  <a:cubicBezTo>
                    <a:pt x="0" y="305"/>
                    <a:pt x="42" y="381"/>
                    <a:pt x="136" y="381"/>
                  </a:cubicBezTo>
                  <a:cubicBezTo>
                    <a:pt x="230" y="381"/>
                    <a:pt x="272" y="305"/>
                    <a:pt x="272" y="231"/>
                  </a:cubicBezTo>
                  <a:cubicBezTo>
                    <a:pt x="272" y="179"/>
                    <a:pt x="255" y="121"/>
                    <a:pt x="226" y="73"/>
                  </a:cubicBezTo>
                  <a:cubicBezTo>
                    <a:pt x="198" y="27"/>
                    <a:pt x="164" y="0"/>
                    <a:pt x="136" y="0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3FEFE00C-0E8C-4331-A50C-A97C69B00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8381" y="3327212"/>
              <a:ext cx="322263" cy="374650"/>
            </a:xfrm>
            <a:custGeom>
              <a:avLst/>
              <a:gdLst>
                <a:gd name="T0" fmla="*/ 0 w 203"/>
                <a:gd name="T1" fmla="*/ 64 h 236"/>
                <a:gd name="T2" fmla="*/ 66 w 203"/>
                <a:gd name="T3" fmla="*/ 64 h 236"/>
                <a:gd name="T4" fmla="*/ 66 w 203"/>
                <a:gd name="T5" fmla="*/ 236 h 236"/>
                <a:gd name="T6" fmla="*/ 137 w 203"/>
                <a:gd name="T7" fmla="*/ 236 h 236"/>
                <a:gd name="T8" fmla="*/ 137 w 203"/>
                <a:gd name="T9" fmla="*/ 64 h 236"/>
                <a:gd name="T10" fmla="*/ 203 w 203"/>
                <a:gd name="T11" fmla="*/ 64 h 236"/>
                <a:gd name="T12" fmla="*/ 203 w 203"/>
                <a:gd name="T13" fmla="*/ 0 h 236"/>
                <a:gd name="T14" fmla="*/ 0 w 203"/>
                <a:gd name="T15" fmla="*/ 0 h 236"/>
                <a:gd name="T16" fmla="*/ 0 w 203"/>
                <a:gd name="T17" fmla="*/ 6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236">
                  <a:moveTo>
                    <a:pt x="0" y="64"/>
                  </a:moveTo>
                  <a:lnTo>
                    <a:pt x="66" y="64"/>
                  </a:lnTo>
                  <a:lnTo>
                    <a:pt x="66" y="236"/>
                  </a:lnTo>
                  <a:lnTo>
                    <a:pt x="137" y="236"/>
                  </a:lnTo>
                  <a:lnTo>
                    <a:pt x="137" y="64"/>
                  </a:lnTo>
                  <a:lnTo>
                    <a:pt x="203" y="64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57286790-9B6E-4495-8E13-11CD2362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8181" y="3327212"/>
              <a:ext cx="396875" cy="374650"/>
            </a:xfrm>
            <a:custGeom>
              <a:avLst/>
              <a:gdLst>
                <a:gd name="T0" fmla="*/ 211 w 360"/>
                <a:gd name="T1" fmla="*/ 92 h 340"/>
                <a:gd name="T2" fmla="*/ 360 w 360"/>
                <a:gd name="T3" fmla="*/ 92 h 340"/>
                <a:gd name="T4" fmla="*/ 360 w 360"/>
                <a:gd name="T5" fmla="*/ 0 h 340"/>
                <a:gd name="T6" fmla="*/ 211 w 360"/>
                <a:gd name="T7" fmla="*/ 0 h 340"/>
                <a:gd name="T8" fmla="*/ 0 w 360"/>
                <a:gd name="T9" fmla="*/ 170 h 340"/>
                <a:gd name="T10" fmla="*/ 211 w 360"/>
                <a:gd name="T11" fmla="*/ 340 h 340"/>
                <a:gd name="T12" fmla="*/ 360 w 360"/>
                <a:gd name="T13" fmla="*/ 340 h 340"/>
                <a:gd name="T14" fmla="*/ 360 w 360"/>
                <a:gd name="T15" fmla="*/ 249 h 340"/>
                <a:gd name="T16" fmla="*/ 211 w 360"/>
                <a:gd name="T17" fmla="*/ 249 h 340"/>
                <a:gd name="T18" fmla="*/ 105 w 360"/>
                <a:gd name="T19" fmla="*/ 170 h 340"/>
                <a:gd name="T20" fmla="*/ 211 w 360"/>
                <a:gd name="T21" fmla="*/ 9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0" h="340">
                  <a:moveTo>
                    <a:pt x="211" y="92"/>
                  </a:moveTo>
                  <a:cubicBezTo>
                    <a:pt x="360" y="92"/>
                    <a:pt x="360" y="92"/>
                    <a:pt x="360" y="92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73" y="0"/>
                    <a:pt x="0" y="69"/>
                    <a:pt x="0" y="170"/>
                  </a:cubicBezTo>
                  <a:cubicBezTo>
                    <a:pt x="0" y="272"/>
                    <a:pt x="73" y="340"/>
                    <a:pt x="211" y="340"/>
                  </a:cubicBezTo>
                  <a:cubicBezTo>
                    <a:pt x="360" y="340"/>
                    <a:pt x="360" y="340"/>
                    <a:pt x="360" y="340"/>
                  </a:cubicBezTo>
                  <a:cubicBezTo>
                    <a:pt x="360" y="249"/>
                    <a:pt x="360" y="249"/>
                    <a:pt x="360" y="249"/>
                  </a:cubicBezTo>
                  <a:cubicBezTo>
                    <a:pt x="211" y="249"/>
                    <a:pt x="211" y="249"/>
                    <a:pt x="211" y="249"/>
                  </a:cubicBezTo>
                  <a:cubicBezTo>
                    <a:pt x="147" y="249"/>
                    <a:pt x="105" y="226"/>
                    <a:pt x="105" y="170"/>
                  </a:cubicBezTo>
                  <a:cubicBezTo>
                    <a:pt x="105" y="115"/>
                    <a:pt x="147" y="92"/>
                    <a:pt x="211" y="92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67DF37DA-D8CF-4A34-8D88-B3381ED85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6068" y="3327212"/>
              <a:ext cx="517525" cy="374650"/>
            </a:xfrm>
            <a:custGeom>
              <a:avLst/>
              <a:gdLst>
                <a:gd name="T0" fmla="*/ 201 w 326"/>
                <a:gd name="T1" fmla="*/ 0 h 236"/>
                <a:gd name="T2" fmla="*/ 163 w 326"/>
                <a:gd name="T3" fmla="*/ 141 h 236"/>
                <a:gd name="T4" fmla="*/ 125 w 326"/>
                <a:gd name="T5" fmla="*/ 0 h 236"/>
                <a:gd name="T6" fmla="*/ 0 w 326"/>
                <a:gd name="T7" fmla="*/ 0 h 236"/>
                <a:gd name="T8" fmla="*/ 0 w 326"/>
                <a:gd name="T9" fmla="*/ 236 h 236"/>
                <a:gd name="T10" fmla="*/ 71 w 326"/>
                <a:gd name="T11" fmla="*/ 236 h 236"/>
                <a:gd name="T12" fmla="*/ 71 w 326"/>
                <a:gd name="T13" fmla="*/ 44 h 236"/>
                <a:gd name="T14" fmla="*/ 122 w 326"/>
                <a:gd name="T15" fmla="*/ 236 h 236"/>
                <a:gd name="T16" fmla="*/ 204 w 326"/>
                <a:gd name="T17" fmla="*/ 236 h 236"/>
                <a:gd name="T18" fmla="*/ 255 w 326"/>
                <a:gd name="T19" fmla="*/ 44 h 236"/>
                <a:gd name="T20" fmla="*/ 255 w 326"/>
                <a:gd name="T21" fmla="*/ 236 h 236"/>
                <a:gd name="T22" fmla="*/ 326 w 326"/>
                <a:gd name="T23" fmla="*/ 236 h 236"/>
                <a:gd name="T24" fmla="*/ 326 w 326"/>
                <a:gd name="T25" fmla="*/ 0 h 236"/>
                <a:gd name="T26" fmla="*/ 201 w 326"/>
                <a:gd name="T27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" h="236">
                  <a:moveTo>
                    <a:pt x="201" y="0"/>
                  </a:moveTo>
                  <a:lnTo>
                    <a:pt x="163" y="141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36"/>
                  </a:lnTo>
                  <a:lnTo>
                    <a:pt x="71" y="236"/>
                  </a:lnTo>
                  <a:lnTo>
                    <a:pt x="71" y="44"/>
                  </a:lnTo>
                  <a:lnTo>
                    <a:pt x="122" y="236"/>
                  </a:lnTo>
                  <a:lnTo>
                    <a:pt x="204" y="236"/>
                  </a:lnTo>
                  <a:lnTo>
                    <a:pt x="255" y="44"/>
                  </a:lnTo>
                  <a:lnTo>
                    <a:pt x="255" y="236"/>
                  </a:lnTo>
                  <a:lnTo>
                    <a:pt x="326" y="236"/>
                  </a:lnTo>
                  <a:lnTo>
                    <a:pt x="326" y="0"/>
                  </a:lnTo>
                  <a:lnTo>
                    <a:pt x="201" y="0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49" name="TextBox 48">
            <a:hlinkClick r:id="" action="ppaction://noaction"/>
            <a:extLst>
              <a:ext uri="{FF2B5EF4-FFF2-40B4-BE49-F238E27FC236}">
                <a16:creationId xmlns:a16="http://schemas.microsoft.com/office/drawing/2014/main" id="{D8733E21-CE34-4A1A-9B65-6AC7795AD250}"/>
              </a:ext>
            </a:extLst>
          </p:cNvPr>
          <p:cNvSpPr txBox="1"/>
          <p:nvPr userDrawn="1"/>
        </p:nvSpPr>
        <p:spPr>
          <a:xfrm>
            <a:off x="1343472" y="-27534"/>
            <a:ext cx="1224000" cy="432000"/>
          </a:xfrm>
          <a:prstGeom prst="rect">
            <a:avLst/>
          </a:prstGeom>
          <a:solidFill>
            <a:srgbClr val="828282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hlinkClick r:id="" action="ppaction://noaction"/>
            <a:extLst>
              <a:ext uri="{FF2B5EF4-FFF2-40B4-BE49-F238E27FC236}">
                <a16:creationId xmlns:a16="http://schemas.microsoft.com/office/drawing/2014/main" id="{E6AE5F0D-98E2-4268-B781-F00D5978873E}"/>
              </a:ext>
            </a:extLst>
          </p:cNvPr>
          <p:cNvSpPr txBox="1"/>
          <p:nvPr userDrawn="1"/>
        </p:nvSpPr>
        <p:spPr>
          <a:xfrm>
            <a:off x="2066143" y="-27534"/>
            <a:ext cx="739375" cy="432000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hlinkClick r:id="" action="ppaction://noaction"/>
            <a:extLst>
              <a:ext uri="{FF2B5EF4-FFF2-40B4-BE49-F238E27FC236}">
                <a16:creationId xmlns:a16="http://schemas.microsoft.com/office/drawing/2014/main" id="{22E6DD5C-CF42-4DF6-8DB5-22096BCDEB4A}"/>
              </a:ext>
            </a:extLst>
          </p:cNvPr>
          <p:cNvSpPr txBox="1"/>
          <p:nvPr userDrawn="1"/>
        </p:nvSpPr>
        <p:spPr>
          <a:xfrm>
            <a:off x="2808320" y="-27534"/>
            <a:ext cx="694316" cy="432000"/>
          </a:xfrm>
          <a:prstGeom prst="rect">
            <a:avLst/>
          </a:prstGeom>
          <a:solidFill>
            <a:srgbClr val="8C8C8C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3502635" y="-27484"/>
            <a:ext cx="815618" cy="432000"/>
          </a:xfrm>
          <a:prstGeom prst="rect">
            <a:avLst/>
          </a:prstGeom>
          <a:solidFill>
            <a:srgbClr val="919191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7329" y="59558"/>
            <a:ext cx="137556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Конкурентный </a:t>
            </a:r>
          </a:p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из</a:t>
            </a:r>
          </a:p>
        </p:txBody>
      </p:sp>
      <p:sp>
        <p:nvSpPr>
          <p:cNvPr id="54" name="TextBox 53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1406382" y="116632"/>
            <a:ext cx="602767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C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5" name="TextBox 54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131736" y="116632"/>
            <a:ext cx="665223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B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6" name="TextBox 55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887674" y="116632"/>
            <a:ext cx="527394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FIX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7" name="TextBox 56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3627560" y="120704"/>
            <a:ext cx="779963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rgbClr val="FF0000"/>
                </a:solidFill>
                <a:latin typeface="+mn-lt"/>
                <a:cs typeface="Arial" panose="020B0604020202020204" pitchFamily="34" charset="0"/>
              </a:rPr>
              <a:t>СТВ</a:t>
            </a:r>
            <a:endParaRPr lang="ru-RU" sz="1600" b="1" dirty="0">
              <a:solidFill>
                <a:srgbClr val="FF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8" name="TextBox 57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4318253" y="-31272"/>
            <a:ext cx="1634015" cy="432000"/>
          </a:xfrm>
          <a:prstGeom prst="rect">
            <a:avLst/>
          </a:prstGeom>
          <a:solidFill>
            <a:srgbClr val="969696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-28219" y="115888"/>
            <a:ext cx="171583" cy="171579"/>
            <a:chOff x="6384032" y="1465802"/>
            <a:chExt cx="90001" cy="89999"/>
          </a:xfrm>
        </p:grpSpPr>
        <p:sp>
          <p:nvSpPr>
            <p:cNvPr id="60" name="Овал 59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3541223" y="115136"/>
            <a:ext cx="183755" cy="183751"/>
            <a:chOff x="6384032" y="1465802"/>
            <a:chExt cx="90001" cy="89999"/>
          </a:xfrm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E30512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FF0000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7" name="Группа 66"/>
          <p:cNvGrpSpPr/>
          <p:nvPr userDrawn="1"/>
        </p:nvGrpSpPr>
        <p:grpSpPr>
          <a:xfrm>
            <a:off x="1351909" y="120704"/>
            <a:ext cx="171583" cy="171579"/>
            <a:chOff x="6384032" y="1465802"/>
            <a:chExt cx="90001" cy="89999"/>
          </a:xfrm>
        </p:grpSpPr>
        <p:sp>
          <p:nvSpPr>
            <p:cNvPr id="68" name="Овал 67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0" name="Овал 69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1" name="Группа 70"/>
          <p:cNvGrpSpPr/>
          <p:nvPr userDrawn="1"/>
        </p:nvGrpSpPr>
        <p:grpSpPr>
          <a:xfrm>
            <a:off x="2066042" y="115888"/>
            <a:ext cx="171583" cy="171579"/>
            <a:chOff x="6384032" y="1465802"/>
            <a:chExt cx="90001" cy="89999"/>
          </a:xfrm>
        </p:grpSpPr>
        <p:sp>
          <p:nvSpPr>
            <p:cNvPr id="72" name="Овал 71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4" name="Овал 113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5" name="Группа 114"/>
          <p:cNvGrpSpPr/>
          <p:nvPr userDrawn="1"/>
        </p:nvGrpSpPr>
        <p:grpSpPr>
          <a:xfrm>
            <a:off x="2814675" y="115888"/>
            <a:ext cx="171583" cy="171579"/>
            <a:chOff x="6384032" y="1465802"/>
            <a:chExt cx="90001" cy="89999"/>
          </a:xfrm>
        </p:grpSpPr>
        <p:sp>
          <p:nvSpPr>
            <p:cNvPr id="116" name="Овал 115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8" name="Овал 117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19" name="TextBox 118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456519" y="112083"/>
            <a:ext cx="151360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ложения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20" name="Группа 119"/>
          <p:cNvGrpSpPr/>
          <p:nvPr userDrawn="1"/>
        </p:nvGrpSpPr>
        <p:grpSpPr>
          <a:xfrm>
            <a:off x="4372498" y="115888"/>
            <a:ext cx="171583" cy="171579"/>
            <a:chOff x="6384032" y="1465802"/>
            <a:chExt cx="90001" cy="89999"/>
          </a:xfrm>
        </p:grpSpPr>
        <p:sp>
          <p:nvSpPr>
            <p:cNvPr id="121" name="Овал 120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2" name="Овал 121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3" name="Овал 122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45" name="Прямая соединительная линия 44"/>
          <p:cNvCxnSpPr/>
          <p:nvPr userDrawn="1"/>
        </p:nvCxnSpPr>
        <p:spPr>
          <a:xfrm>
            <a:off x="1842762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 userDrawn="1"/>
        </p:nvCxnSpPr>
        <p:spPr>
          <a:xfrm>
            <a:off x="2630572" y="199808"/>
            <a:ext cx="192800" cy="187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 userDrawn="1"/>
        </p:nvCxnSpPr>
        <p:spPr>
          <a:xfrm>
            <a:off x="3328731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 userDrawn="1"/>
        </p:nvCxnSpPr>
        <p:spPr>
          <a:xfrm>
            <a:off x="4154374" y="197936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 userDrawn="1"/>
        </p:nvCxnSpPr>
        <p:spPr>
          <a:xfrm>
            <a:off x="164064" y="210222"/>
            <a:ext cx="1192936" cy="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578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142">
          <p15:clr>
            <a:srgbClr val="FBAE40"/>
          </p15:clr>
        </p15:guide>
        <p15:guide id="3" orient="horz" pos="73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orient="horz" pos="2360">
          <p15:clr>
            <a:srgbClr val="FBAE40"/>
          </p15:clr>
        </p15:guide>
        <p15:guide id="6" orient="horz" pos="2460">
          <p15:clr>
            <a:srgbClr val="FBAE40"/>
          </p15:clr>
        </p15:guide>
        <p15:guide id="7" orient="horz" pos="25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FEBA5A60-81BB-44F1-9637-A18394B5220C}"/>
              </a:ext>
            </a:extLst>
          </p:cNvPr>
          <p:cNvGrpSpPr/>
          <p:nvPr userDrawn="1"/>
        </p:nvGrpSpPr>
        <p:grpSpPr>
          <a:xfrm>
            <a:off x="11208568" y="6417332"/>
            <a:ext cx="774212" cy="193007"/>
            <a:chOff x="-3138818" y="3304987"/>
            <a:chExt cx="1687512" cy="420688"/>
          </a:xfrm>
        </p:grpSpPr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E9799C2B-2CD3-4909-B0E4-E7F1A9643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8818" y="3304987"/>
              <a:ext cx="300038" cy="420688"/>
            </a:xfrm>
            <a:custGeom>
              <a:avLst/>
              <a:gdLst>
                <a:gd name="T0" fmla="*/ 136 w 272"/>
                <a:gd name="T1" fmla="*/ 0 h 381"/>
                <a:gd name="T2" fmla="*/ 46 w 272"/>
                <a:gd name="T3" fmla="*/ 73 h 381"/>
                <a:gd name="T4" fmla="*/ 0 w 272"/>
                <a:gd name="T5" fmla="*/ 231 h 381"/>
                <a:gd name="T6" fmla="*/ 136 w 272"/>
                <a:gd name="T7" fmla="*/ 381 h 381"/>
                <a:gd name="T8" fmla="*/ 272 w 272"/>
                <a:gd name="T9" fmla="*/ 231 h 381"/>
                <a:gd name="T10" fmla="*/ 226 w 272"/>
                <a:gd name="T11" fmla="*/ 73 h 381"/>
                <a:gd name="T12" fmla="*/ 136 w 272"/>
                <a:gd name="T13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381">
                  <a:moveTo>
                    <a:pt x="136" y="0"/>
                  </a:moveTo>
                  <a:cubicBezTo>
                    <a:pt x="107" y="0"/>
                    <a:pt x="74" y="27"/>
                    <a:pt x="46" y="73"/>
                  </a:cubicBezTo>
                  <a:cubicBezTo>
                    <a:pt x="17" y="121"/>
                    <a:pt x="0" y="179"/>
                    <a:pt x="0" y="231"/>
                  </a:cubicBezTo>
                  <a:cubicBezTo>
                    <a:pt x="0" y="305"/>
                    <a:pt x="42" y="381"/>
                    <a:pt x="136" y="381"/>
                  </a:cubicBezTo>
                  <a:cubicBezTo>
                    <a:pt x="230" y="381"/>
                    <a:pt x="272" y="305"/>
                    <a:pt x="272" y="231"/>
                  </a:cubicBezTo>
                  <a:cubicBezTo>
                    <a:pt x="272" y="179"/>
                    <a:pt x="255" y="121"/>
                    <a:pt x="226" y="73"/>
                  </a:cubicBezTo>
                  <a:cubicBezTo>
                    <a:pt x="198" y="27"/>
                    <a:pt x="164" y="0"/>
                    <a:pt x="136" y="0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3FEFE00C-0E8C-4331-A50C-A97C69B00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8381" y="3327212"/>
              <a:ext cx="322263" cy="374650"/>
            </a:xfrm>
            <a:custGeom>
              <a:avLst/>
              <a:gdLst>
                <a:gd name="T0" fmla="*/ 0 w 203"/>
                <a:gd name="T1" fmla="*/ 64 h 236"/>
                <a:gd name="T2" fmla="*/ 66 w 203"/>
                <a:gd name="T3" fmla="*/ 64 h 236"/>
                <a:gd name="T4" fmla="*/ 66 w 203"/>
                <a:gd name="T5" fmla="*/ 236 h 236"/>
                <a:gd name="T6" fmla="*/ 137 w 203"/>
                <a:gd name="T7" fmla="*/ 236 h 236"/>
                <a:gd name="T8" fmla="*/ 137 w 203"/>
                <a:gd name="T9" fmla="*/ 64 h 236"/>
                <a:gd name="T10" fmla="*/ 203 w 203"/>
                <a:gd name="T11" fmla="*/ 64 h 236"/>
                <a:gd name="T12" fmla="*/ 203 w 203"/>
                <a:gd name="T13" fmla="*/ 0 h 236"/>
                <a:gd name="T14" fmla="*/ 0 w 203"/>
                <a:gd name="T15" fmla="*/ 0 h 236"/>
                <a:gd name="T16" fmla="*/ 0 w 203"/>
                <a:gd name="T17" fmla="*/ 6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236">
                  <a:moveTo>
                    <a:pt x="0" y="64"/>
                  </a:moveTo>
                  <a:lnTo>
                    <a:pt x="66" y="64"/>
                  </a:lnTo>
                  <a:lnTo>
                    <a:pt x="66" y="236"/>
                  </a:lnTo>
                  <a:lnTo>
                    <a:pt x="137" y="236"/>
                  </a:lnTo>
                  <a:lnTo>
                    <a:pt x="137" y="64"/>
                  </a:lnTo>
                  <a:lnTo>
                    <a:pt x="203" y="64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57286790-9B6E-4495-8E13-11CD2362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8181" y="3327212"/>
              <a:ext cx="396875" cy="374650"/>
            </a:xfrm>
            <a:custGeom>
              <a:avLst/>
              <a:gdLst>
                <a:gd name="T0" fmla="*/ 211 w 360"/>
                <a:gd name="T1" fmla="*/ 92 h 340"/>
                <a:gd name="T2" fmla="*/ 360 w 360"/>
                <a:gd name="T3" fmla="*/ 92 h 340"/>
                <a:gd name="T4" fmla="*/ 360 w 360"/>
                <a:gd name="T5" fmla="*/ 0 h 340"/>
                <a:gd name="T6" fmla="*/ 211 w 360"/>
                <a:gd name="T7" fmla="*/ 0 h 340"/>
                <a:gd name="T8" fmla="*/ 0 w 360"/>
                <a:gd name="T9" fmla="*/ 170 h 340"/>
                <a:gd name="T10" fmla="*/ 211 w 360"/>
                <a:gd name="T11" fmla="*/ 340 h 340"/>
                <a:gd name="T12" fmla="*/ 360 w 360"/>
                <a:gd name="T13" fmla="*/ 340 h 340"/>
                <a:gd name="T14" fmla="*/ 360 w 360"/>
                <a:gd name="T15" fmla="*/ 249 h 340"/>
                <a:gd name="T16" fmla="*/ 211 w 360"/>
                <a:gd name="T17" fmla="*/ 249 h 340"/>
                <a:gd name="T18" fmla="*/ 105 w 360"/>
                <a:gd name="T19" fmla="*/ 170 h 340"/>
                <a:gd name="T20" fmla="*/ 211 w 360"/>
                <a:gd name="T21" fmla="*/ 9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0" h="340">
                  <a:moveTo>
                    <a:pt x="211" y="92"/>
                  </a:moveTo>
                  <a:cubicBezTo>
                    <a:pt x="360" y="92"/>
                    <a:pt x="360" y="92"/>
                    <a:pt x="360" y="92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73" y="0"/>
                    <a:pt x="0" y="69"/>
                    <a:pt x="0" y="170"/>
                  </a:cubicBezTo>
                  <a:cubicBezTo>
                    <a:pt x="0" y="272"/>
                    <a:pt x="73" y="340"/>
                    <a:pt x="211" y="340"/>
                  </a:cubicBezTo>
                  <a:cubicBezTo>
                    <a:pt x="360" y="340"/>
                    <a:pt x="360" y="340"/>
                    <a:pt x="360" y="340"/>
                  </a:cubicBezTo>
                  <a:cubicBezTo>
                    <a:pt x="360" y="249"/>
                    <a:pt x="360" y="249"/>
                    <a:pt x="360" y="249"/>
                  </a:cubicBezTo>
                  <a:cubicBezTo>
                    <a:pt x="211" y="249"/>
                    <a:pt x="211" y="249"/>
                    <a:pt x="211" y="249"/>
                  </a:cubicBezTo>
                  <a:cubicBezTo>
                    <a:pt x="147" y="249"/>
                    <a:pt x="105" y="226"/>
                    <a:pt x="105" y="170"/>
                  </a:cubicBezTo>
                  <a:cubicBezTo>
                    <a:pt x="105" y="115"/>
                    <a:pt x="147" y="92"/>
                    <a:pt x="211" y="92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67DF37DA-D8CF-4A34-8D88-B3381ED85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6068" y="3327212"/>
              <a:ext cx="517525" cy="374650"/>
            </a:xfrm>
            <a:custGeom>
              <a:avLst/>
              <a:gdLst>
                <a:gd name="T0" fmla="*/ 201 w 326"/>
                <a:gd name="T1" fmla="*/ 0 h 236"/>
                <a:gd name="T2" fmla="*/ 163 w 326"/>
                <a:gd name="T3" fmla="*/ 141 h 236"/>
                <a:gd name="T4" fmla="*/ 125 w 326"/>
                <a:gd name="T5" fmla="*/ 0 h 236"/>
                <a:gd name="T6" fmla="*/ 0 w 326"/>
                <a:gd name="T7" fmla="*/ 0 h 236"/>
                <a:gd name="T8" fmla="*/ 0 w 326"/>
                <a:gd name="T9" fmla="*/ 236 h 236"/>
                <a:gd name="T10" fmla="*/ 71 w 326"/>
                <a:gd name="T11" fmla="*/ 236 h 236"/>
                <a:gd name="T12" fmla="*/ 71 w 326"/>
                <a:gd name="T13" fmla="*/ 44 h 236"/>
                <a:gd name="T14" fmla="*/ 122 w 326"/>
                <a:gd name="T15" fmla="*/ 236 h 236"/>
                <a:gd name="T16" fmla="*/ 204 w 326"/>
                <a:gd name="T17" fmla="*/ 236 h 236"/>
                <a:gd name="T18" fmla="*/ 255 w 326"/>
                <a:gd name="T19" fmla="*/ 44 h 236"/>
                <a:gd name="T20" fmla="*/ 255 w 326"/>
                <a:gd name="T21" fmla="*/ 236 h 236"/>
                <a:gd name="T22" fmla="*/ 326 w 326"/>
                <a:gd name="T23" fmla="*/ 236 h 236"/>
                <a:gd name="T24" fmla="*/ 326 w 326"/>
                <a:gd name="T25" fmla="*/ 0 h 236"/>
                <a:gd name="T26" fmla="*/ 201 w 326"/>
                <a:gd name="T27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" h="236">
                  <a:moveTo>
                    <a:pt x="201" y="0"/>
                  </a:moveTo>
                  <a:lnTo>
                    <a:pt x="163" y="141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36"/>
                  </a:lnTo>
                  <a:lnTo>
                    <a:pt x="71" y="236"/>
                  </a:lnTo>
                  <a:lnTo>
                    <a:pt x="71" y="44"/>
                  </a:lnTo>
                  <a:lnTo>
                    <a:pt x="122" y="236"/>
                  </a:lnTo>
                  <a:lnTo>
                    <a:pt x="204" y="236"/>
                  </a:lnTo>
                  <a:lnTo>
                    <a:pt x="255" y="44"/>
                  </a:lnTo>
                  <a:lnTo>
                    <a:pt x="255" y="236"/>
                  </a:lnTo>
                  <a:lnTo>
                    <a:pt x="326" y="236"/>
                  </a:lnTo>
                  <a:lnTo>
                    <a:pt x="326" y="0"/>
                  </a:lnTo>
                  <a:lnTo>
                    <a:pt x="201" y="0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50" name="TextBox 49">
            <a:hlinkClick r:id="" action="ppaction://noaction"/>
            <a:extLst>
              <a:ext uri="{FF2B5EF4-FFF2-40B4-BE49-F238E27FC236}">
                <a16:creationId xmlns:a16="http://schemas.microsoft.com/office/drawing/2014/main" id="{D8733E21-CE34-4A1A-9B65-6AC7795AD250}"/>
              </a:ext>
            </a:extLst>
          </p:cNvPr>
          <p:cNvSpPr txBox="1"/>
          <p:nvPr userDrawn="1"/>
        </p:nvSpPr>
        <p:spPr>
          <a:xfrm>
            <a:off x="1343472" y="-27534"/>
            <a:ext cx="1224000" cy="432000"/>
          </a:xfrm>
          <a:prstGeom prst="rect">
            <a:avLst/>
          </a:prstGeom>
          <a:solidFill>
            <a:srgbClr val="828282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hlinkClick r:id="" action="ppaction://noaction"/>
            <a:extLst>
              <a:ext uri="{FF2B5EF4-FFF2-40B4-BE49-F238E27FC236}">
                <a16:creationId xmlns:a16="http://schemas.microsoft.com/office/drawing/2014/main" id="{E6AE5F0D-98E2-4268-B781-F00D5978873E}"/>
              </a:ext>
            </a:extLst>
          </p:cNvPr>
          <p:cNvSpPr txBox="1"/>
          <p:nvPr userDrawn="1"/>
        </p:nvSpPr>
        <p:spPr>
          <a:xfrm>
            <a:off x="2066143" y="-27534"/>
            <a:ext cx="739375" cy="432000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hlinkClick r:id="" action="ppaction://noaction"/>
            <a:extLst>
              <a:ext uri="{FF2B5EF4-FFF2-40B4-BE49-F238E27FC236}">
                <a16:creationId xmlns:a16="http://schemas.microsoft.com/office/drawing/2014/main" id="{22E6DD5C-CF42-4DF6-8DB5-22096BCDEB4A}"/>
              </a:ext>
            </a:extLst>
          </p:cNvPr>
          <p:cNvSpPr txBox="1"/>
          <p:nvPr userDrawn="1"/>
        </p:nvSpPr>
        <p:spPr>
          <a:xfrm>
            <a:off x="2808320" y="-27534"/>
            <a:ext cx="694316" cy="432000"/>
          </a:xfrm>
          <a:prstGeom prst="rect">
            <a:avLst/>
          </a:prstGeom>
          <a:solidFill>
            <a:srgbClr val="8C8C8C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3502635" y="-27484"/>
            <a:ext cx="815618" cy="432000"/>
          </a:xfrm>
          <a:prstGeom prst="rect">
            <a:avLst/>
          </a:prstGeom>
          <a:solidFill>
            <a:srgbClr val="919191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7329" y="59558"/>
            <a:ext cx="137556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Конкурентный </a:t>
            </a:r>
          </a:p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из</a:t>
            </a:r>
          </a:p>
        </p:txBody>
      </p:sp>
      <p:sp>
        <p:nvSpPr>
          <p:cNvPr id="55" name="TextBox 54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1406382" y="116632"/>
            <a:ext cx="602767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C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6" name="TextBox 55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131736" y="116632"/>
            <a:ext cx="665223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B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7" name="TextBox 56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887674" y="116632"/>
            <a:ext cx="527394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rgbClr val="FF0000"/>
                </a:solidFill>
                <a:latin typeface="+mn-lt"/>
                <a:cs typeface="Arial" panose="020B0604020202020204" pitchFamily="34" charset="0"/>
              </a:rPr>
              <a:t>FIX</a:t>
            </a:r>
            <a:endParaRPr lang="ru-RU" sz="1600" b="1" dirty="0">
              <a:solidFill>
                <a:srgbClr val="FF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8" name="TextBox 57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3627560" y="120704"/>
            <a:ext cx="77996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В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4318253" y="-31272"/>
            <a:ext cx="1634015" cy="432000"/>
          </a:xfrm>
          <a:prstGeom prst="rect">
            <a:avLst/>
          </a:prstGeom>
          <a:solidFill>
            <a:srgbClr val="969696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 userDrawn="1"/>
        </p:nvGrpSpPr>
        <p:grpSpPr>
          <a:xfrm>
            <a:off x="-28219" y="115888"/>
            <a:ext cx="171583" cy="171579"/>
            <a:chOff x="6384032" y="1465802"/>
            <a:chExt cx="90001" cy="89999"/>
          </a:xfrm>
        </p:grpSpPr>
        <p:sp>
          <p:nvSpPr>
            <p:cNvPr id="61" name="Овал 60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4" name="Группа 63"/>
          <p:cNvGrpSpPr/>
          <p:nvPr userDrawn="1"/>
        </p:nvGrpSpPr>
        <p:grpSpPr>
          <a:xfrm>
            <a:off x="2807626" y="102680"/>
            <a:ext cx="183755" cy="183751"/>
            <a:chOff x="6384032" y="1465802"/>
            <a:chExt cx="90001" cy="89999"/>
          </a:xfrm>
        </p:grpSpPr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E30512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6" name="Овал 65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FF0000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8" name="Группа 67"/>
          <p:cNvGrpSpPr/>
          <p:nvPr userDrawn="1"/>
        </p:nvGrpSpPr>
        <p:grpSpPr>
          <a:xfrm>
            <a:off x="1351909" y="120704"/>
            <a:ext cx="171583" cy="171579"/>
            <a:chOff x="6384032" y="1465802"/>
            <a:chExt cx="90001" cy="89999"/>
          </a:xfrm>
        </p:grpSpPr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0" name="Овал 69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1" name="Овал 70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2" name="Группа 71"/>
          <p:cNvGrpSpPr/>
          <p:nvPr userDrawn="1"/>
        </p:nvGrpSpPr>
        <p:grpSpPr>
          <a:xfrm>
            <a:off x="2066042" y="115888"/>
            <a:ext cx="171583" cy="171579"/>
            <a:chOff x="6384032" y="1465802"/>
            <a:chExt cx="90001" cy="89999"/>
          </a:xfrm>
        </p:grpSpPr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4" name="Овал 113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5" name="Овал 114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6" name="Группа 115"/>
          <p:cNvGrpSpPr/>
          <p:nvPr userDrawn="1"/>
        </p:nvGrpSpPr>
        <p:grpSpPr>
          <a:xfrm>
            <a:off x="3543539" y="115888"/>
            <a:ext cx="171583" cy="171579"/>
            <a:chOff x="6384032" y="1465802"/>
            <a:chExt cx="90001" cy="89999"/>
          </a:xfrm>
        </p:grpSpPr>
        <p:sp>
          <p:nvSpPr>
            <p:cNvPr id="117" name="Овал 116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8" name="Овал 117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9" name="Овал 118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20" name="TextBox 119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456519" y="112083"/>
            <a:ext cx="151360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ложения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21" name="Группа 120"/>
          <p:cNvGrpSpPr/>
          <p:nvPr userDrawn="1"/>
        </p:nvGrpSpPr>
        <p:grpSpPr>
          <a:xfrm>
            <a:off x="4372498" y="115888"/>
            <a:ext cx="171583" cy="171579"/>
            <a:chOff x="6384032" y="1465802"/>
            <a:chExt cx="90001" cy="89999"/>
          </a:xfrm>
        </p:grpSpPr>
        <p:sp>
          <p:nvSpPr>
            <p:cNvPr id="122" name="Овал 121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3" name="Овал 122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4" name="Овал 123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45" name="Прямая соединительная линия 44"/>
          <p:cNvCxnSpPr/>
          <p:nvPr userDrawn="1"/>
        </p:nvCxnSpPr>
        <p:spPr>
          <a:xfrm>
            <a:off x="1842762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 userDrawn="1"/>
        </p:nvCxnSpPr>
        <p:spPr>
          <a:xfrm>
            <a:off x="2630572" y="199808"/>
            <a:ext cx="192800" cy="187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 userDrawn="1"/>
        </p:nvCxnSpPr>
        <p:spPr>
          <a:xfrm>
            <a:off x="3328731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 userDrawn="1"/>
        </p:nvCxnSpPr>
        <p:spPr>
          <a:xfrm>
            <a:off x="4154374" y="197936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 userDrawn="1"/>
        </p:nvCxnSpPr>
        <p:spPr>
          <a:xfrm>
            <a:off x="164064" y="210222"/>
            <a:ext cx="1192936" cy="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816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142">
          <p15:clr>
            <a:srgbClr val="FBAE40"/>
          </p15:clr>
        </p15:guide>
        <p15:guide id="3" orient="horz" pos="73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orient="horz" pos="2360">
          <p15:clr>
            <a:srgbClr val="FBAE40"/>
          </p15:clr>
        </p15:guide>
        <p15:guide id="6" orient="horz" pos="2460">
          <p15:clr>
            <a:srgbClr val="FBAE40"/>
          </p15:clr>
        </p15:guide>
        <p15:guide id="7" orient="horz" pos="25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FEBA5A60-81BB-44F1-9637-A18394B5220C}"/>
              </a:ext>
            </a:extLst>
          </p:cNvPr>
          <p:cNvGrpSpPr/>
          <p:nvPr userDrawn="1"/>
        </p:nvGrpSpPr>
        <p:grpSpPr>
          <a:xfrm>
            <a:off x="11208568" y="6417332"/>
            <a:ext cx="774212" cy="193007"/>
            <a:chOff x="-3138818" y="3304987"/>
            <a:chExt cx="1687512" cy="420688"/>
          </a:xfrm>
        </p:grpSpPr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E9799C2B-2CD3-4909-B0E4-E7F1A9643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8818" y="3304987"/>
              <a:ext cx="300038" cy="420688"/>
            </a:xfrm>
            <a:custGeom>
              <a:avLst/>
              <a:gdLst>
                <a:gd name="T0" fmla="*/ 136 w 272"/>
                <a:gd name="T1" fmla="*/ 0 h 381"/>
                <a:gd name="T2" fmla="*/ 46 w 272"/>
                <a:gd name="T3" fmla="*/ 73 h 381"/>
                <a:gd name="T4" fmla="*/ 0 w 272"/>
                <a:gd name="T5" fmla="*/ 231 h 381"/>
                <a:gd name="T6" fmla="*/ 136 w 272"/>
                <a:gd name="T7" fmla="*/ 381 h 381"/>
                <a:gd name="T8" fmla="*/ 272 w 272"/>
                <a:gd name="T9" fmla="*/ 231 h 381"/>
                <a:gd name="T10" fmla="*/ 226 w 272"/>
                <a:gd name="T11" fmla="*/ 73 h 381"/>
                <a:gd name="T12" fmla="*/ 136 w 272"/>
                <a:gd name="T13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381">
                  <a:moveTo>
                    <a:pt x="136" y="0"/>
                  </a:moveTo>
                  <a:cubicBezTo>
                    <a:pt x="107" y="0"/>
                    <a:pt x="74" y="27"/>
                    <a:pt x="46" y="73"/>
                  </a:cubicBezTo>
                  <a:cubicBezTo>
                    <a:pt x="17" y="121"/>
                    <a:pt x="0" y="179"/>
                    <a:pt x="0" y="231"/>
                  </a:cubicBezTo>
                  <a:cubicBezTo>
                    <a:pt x="0" y="305"/>
                    <a:pt x="42" y="381"/>
                    <a:pt x="136" y="381"/>
                  </a:cubicBezTo>
                  <a:cubicBezTo>
                    <a:pt x="230" y="381"/>
                    <a:pt x="272" y="305"/>
                    <a:pt x="272" y="231"/>
                  </a:cubicBezTo>
                  <a:cubicBezTo>
                    <a:pt x="272" y="179"/>
                    <a:pt x="255" y="121"/>
                    <a:pt x="226" y="73"/>
                  </a:cubicBezTo>
                  <a:cubicBezTo>
                    <a:pt x="198" y="27"/>
                    <a:pt x="164" y="0"/>
                    <a:pt x="136" y="0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3FEFE00C-0E8C-4331-A50C-A97C69B00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8381" y="3327212"/>
              <a:ext cx="322263" cy="374650"/>
            </a:xfrm>
            <a:custGeom>
              <a:avLst/>
              <a:gdLst>
                <a:gd name="T0" fmla="*/ 0 w 203"/>
                <a:gd name="T1" fmla="*/ 64 h 236"/>
                <a:gd name="T2" fmla="*/ 66 w 203"/>
                <a:gd name="T3" fmla="*/ 64 h 236"/>
                <a:gd name="T4" fmla="*/ 66 w 203"/>
                <a:gd name="T5" fmla="*/ 236 h 236"/>
                <a:gd name="T6" fmla="*/ 137 w 203"/>
                <a:gd name="T7" fmla="*/ 236 h 236"/>
                <a:gd name="T8" fmla="*/ 137 w 203"/>
                <a:gd name="T9" fmla="*/ 64 h 236"/>
                <a:gd name="T10" fmla="*/ 203 w 203"/>
                <a:gd name="T11" fmla="*/ 64 h 236"/>
                <a:gd name="T12" fmla="*/ 203 w 203"/>
                <a:gd name="T13" fmla="*/ 0 h 236"/>
                <a:gd name="T14" fmla="*/ 0 w 203"/>
                <a:gd name="T15" fmla="*/ 0 h 236"/>
                <a:gd name="T16" fmla="*/ 0 w 203"/>
                <a:gd name="T17" fmla="*/ 6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236">
                  <a:moveTo>
                    <a:pt x="0" y="64"/>
                  </a:moveTo>
                  <a:lnTo>
                    <a:pt x="66" y="64"/>
                  </a:lnTo>
                  <a:lnTo>
                    <a:pt x="66" y="236"/>
                  </a:lnTo>
                  <a:lnTo>
                    <a:pt x="137" y="236"/>
                  </a:lnTo>
                  <a:lnTo>
                    <a:pt x="137" y="64"/>
                  </a:lnTo>
                  <a:lnTo>
                    <a:pt x="203" y="64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57286790-9B6E-4495-8E13-11CD2362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8181" y="3327212"/>
              <a:ext cx="396875" cy="374650"/>
            </a:xfrm>
            <a:custGeom>
              <a:avLst/>
              <a:gdLst>
                <a:gd name="T0" fmla="*/ 211 w 360"/>
                <a:gd name="T1" fmla="*/ 92 h 340"/>
                <a:gd name="T2" fmla="*/ 360 w 360"/>
                <a:gd name="T3" fmla="*/ 92 h 340"/>
                <a:gd name="T4" fmla="*/ 360 w 360"/>
                <a:gd name="T5" fmla="*/ 0 h 340"/>
                <a:gd name="T6" fmla="*/ 211 w 360"/>
                <a:gd name="T7" fmla="*/ 0 h 340"/>
                <a:gd name="T8" fmla="*/ 0 w 360"/>
                <a:gd name="T9" fmla="*/ 170 h 340"/>
                <a:gd name="T10" fmla="*/ 211 w 360"/>
                <a:gd name="T11" fmla="*/ 340 h 340"/>
                <a:gd name="T12" fmla="*/ 360 w 360"/>
                <a:gd name="T13" fmla="*/ 340 h 340"/>
                <a:gd name="T14" fmla="*/ 360 w 360"/>
                <a:gd name="T15" fmla="*/ 249 h 340"/>
                <a:gd name="T16" fmla="*/ 211 w 360"/>
                <a:gd name="T17" fmla="*/ 249 h 340"/>
                <a:gd name="T18" fmla="*/ 105 w 360"/>
                <a:gd name="T19" fmla="*/ 170 h 340"/>
                <a:gd name="T20" fmla="*/ 211 w 360"/>
                <a:gd name="T21" fmla="*/ 9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0" h="340">
                  <a:moveTo>
                    <a:pt x="211" y="92"/>
                  </a:moveTo>
                  <a:cubicBezTo>
                    <a:pt x="360" y="92"/>
                    <a:pt x="360" y="92"/>
                    <a:pt x="360" y="92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73" y="0"/>
                    <a:pt x="0" y="69"/>
                    <a:pt x="0" y="170"/>
                  </a:cubicBezTo>
                  <a:cubicBezTo>
                    <a:pt x="0" y="272"/>
                    <a:pt x="73" y="340"/>
                    <a:pt x="211" y="340"/>
                  </a:cubicBezTo>
                  <a:cubicBezTo>
                    <a:pt x="360" y="340"/>
                    <a:pt x="360" y="340"/>
                    <a:pt x="360" y="340"/>
                  </a:cubicBezTo>
                  <a:cubicBezTo>
                    <a:pt x="360" y="249"/>
                    <a:pt x="360" y="249"/>
                    <a:pt x="360" y="249"/>
                  </a:cubicBezTo>
                  <a:cubicBezTo>
                    <a:pt x="211" y="249"/>
                    <a:pt x="211" y="249"/>
                    <a:pt x="211" y="249"/>
                  </a:cubicBezTo>
                  <a:cubicBezTo>
                    <a:pt x="147" y="249"/>
                    <a:pt x="105" y="226"/>
                    <a:pt x="105" y="170"/>
                  </a:cubicBezTo>
                  <a:cubicBezTo>
                    <a:pt x="105" y="115"/>
                    <a:pt x="147" y="92"/>
                    <a:pt x="211" y="92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67DF37DA-D8CF-4A34-8D88-B3381ED85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6068" y="3327212"/>
              <a:ext cx="517525" cy="374650"/>
            </a:xfrm>
            <a:custGeom>
              <a:avLst/>
              <a:gdLst>
                <a:gd name="T0" fmla="*/ 201 w 326"/>
                <a:gd name="T1" fmla="*/ 0 h 236"/>
                <a:gd name="T2" fmla="*/ 163 w 326"/>
                <a:gd name="T3" fmla="*/ 141 h 236"/>
                <a:gd name="T4" fmla="*/ 125 w 326"/>
                <a:gd name="T5" fmla="*/ 0 h 236"/>
                <a:gd name="T6" fmla="*/ 0 w 326"/>
                <a:gd name="T7" fmla="*/ 0 h 236"/>
                <a:gd name="T8" fmla="*/ 0 w 326"/>
                <a:gd name="T9" fmla="*/ 236 h 236"/>
                <a:gd name="T10" fmla="*/ 71 w 326"/>
                <a:gd name="T11" fmla="*/ 236 h 236"/>
                <a:gd name="T12" fmla="*/ 71 w 326"/>
                <a:gd name="T13" fmla="*/ 44 h 236"/>
                <a:gd name="T14" fmla="*/ 122 w 326"/>
                <a:gd name="T15" fmla="*/ 236 h 236"/>
                <a:gd name="T16" fmla="*/ 204 w 326"/>
                <a:gd name="T17" fmla="*/ 236 h 236"/>
                <a:gd name="T18" fmla="*/ 255 w 326"/>
                <a:gd name="T19" fmla="*/ 44 h 236"/>
                <a:gd name="T20" fmla="*/ 255 w 326"/>
                <a:gd name="T21" fmla="*/ 236 h 236"/>
                <a:gd name="T22" fmla="*/ 326 w 326"/>
                <a:gd name="T23" fmla="*/ 236 h 236"/>
                <a:gd name="T24" fmla="*/ 326 w 326"/>
                <a:gd name="T25" fmla="*/ 0 h 236"/>
                <a:gd name="T26" fmla="*/ 201 w 326"/>
                <a:gd name="T27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" h="236">
                  <a:moveTo>
                    <a:pt x="201" y="0"/>
                  </a:moveTo>
                  <a:lnTo>
                    <a:pt x="163" y="141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36"/>
                  </a:lnTo>
                  <a:lnTo>
                    <a:pt x="71" y="236"/>
                  </a:lnTo>
                  <a:lnTo>
                    <a:pt x="71" y="44"/>
                  </a:lnTo>
                  <a:lnTo>
                    <a:pt x="122" y="236"/>
                  </a:lnTo>
                  <a:lnTo>
                    <a:pt x="204" y="236"/>
                  </a:lnTo>
                  <a:lnTo>
                    <a:pt x="255" y="44"/>
                  </a:lnTo>
                  <a:lnTo>
                    <a:pt x="255" y="236"/>
                  </a:lnTo>
                  <a:lnTo>
                    <a:pt x="326" y="236"/>
                  </a:lnTo>
                  <a:lnTo>
                    <a:pt x="326" y="0"/>
                  </a:lnTo>
                  <a:lnTo>
                    <a:pt x="201" y="0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56" name="TextBox 55">
            <a:hlinkClick r:id="" action="ppaction://noaction"/>
            <a:extLst>
              <a:ext uri="{FF2B5EF4-FFF2-40B4-BE49-F238E27FC236}">
                <a16:creationId xmlns:a16="http://schemas.microsoft.com/office/drawing/2014/main" id="{D8733E21-CE34-4A1A-9B65-6AC7795AD250}"/>
              </a:ext>
            </a:extLst>
          </p:cNvPr>
          <p:cNvSpPr txBox="1"/>
          <p:nvPr userDrawn="1"/>
        </p:nvSpPr>
        <p:spPr>
          <a:xfrm>
            <a:off x="1343472" y="-27534"/>
            <a:ext cx="1224000" cy="432000"/>
          </a:xfrm>
          <a:prstGeom prst="rect">
            <a:avLst/>
          </a:prstGeom>
          <a:solidFill>
            <a:srgbClr val="828282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hlinkClick r:id="" action="ppaction://noaction"/>
            <a:extLst>
              <a:ext uri="{FF2B5EF4-FFF2-40B4-BE49-F238E27FC236}">
                <a16:creationId xmlns:a16="http://schemas.microsoft.com/office/drawing/2014/main" id="{E6AE5F0D-98E2-4268-B781-F00D5978873E}"/>
              </a:ext>
            </a:extLst>
          </p:cNvPr>
          <p:cNvSpPr txBox="1"/>
          <p:nvPr userDrawn="1"/>
        </p:nvSpPr>
        <p:spPr>
          <a:xfrm>
            <a:off x="2066143" y="-27534"/>
            <a:ext cx="739375" cy="432000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hlinkClick r:id="" action="ppaction://noaction"/>
            <a:extLst>
              <a:ext uri="{FF2B5EF4-FFF2-40B4-BE49-F238E27FC236}">
                <a16:creationId xmlns:a16="http://schemas.microsoft.com/office/drawing/2014/main" id="{22E6DD5C-CF42-4DF6-8DB5-22096BCDEB4A}"/>
              </a:ext>
            </a:extLst>
          </p:cNvPr>
          <p:cNvSpPr txBox="1"/>
          <p:nvPr userDrawn="1"/>
        </p:nvSpPr>
        <p:spPr>
          <a:xfrm>
            <a:off x="2808320" y="-27534"/>
            <a:ext cx="694316" cy="432000"/>
          </a:xfrm>
          <a:prstGeom prst="rect">
            <a:avLst/>
          </a:prstGeom>
          <a:solidFill>
            <a:srgbClr val="8C8C8C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3502635" y="-27484"/>
            <a:ext cx="815618" cy="432000"/>
          </a:xfrm>
          <a:prstGeom prst="rect">
            <a:avLst/>
          </a:prstGeom>
          <a:solidFill>
            <a:srgbClr val="919191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7329" y="59558"/>
            <a:ext cx="137556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Конкурентный </a:t>
            </a:r>
          </a:p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из</a:t>
            </a:r>
          </a:p>
        </p:txBody>
      </p:sp>
      <p:sp>
        <p:nvSpPr>
          <p:cNvPr id="61" name="TextBox 60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1406382" y="116632"/>
            <a:ext cx="602767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C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2" name="TextBox 61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131736" y="116632"/>
            <a:ext cx="665223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B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3" name="TextBox 62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887674" y="116632"/>
            <a:ext cx="527394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FIX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4" name="TextBox 63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3627560" y="120704"/>
            <a:ext cx="77996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В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TextBox 64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4318253" y="-31272"/>
            <a:ext cx="1634015" cy="432000"/>
          </a:xfrm>
          <a:prstGeom prst="rect">
            <a:avLst/>
          </a:prstGeom>
          <a:solidFill>
            <a:srgbClr val="969696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6" name="Группа 65"/>
          <p:cNvGrpSpPr/>
          <p:nvPr userDrawn="1"/>
        </p:nvGrpSpPr>
        <p:grpSpPr>
          <a:xfrm>
            <a:off x="-28219" y="115888"/>
            <a:ext cx="171583" cy="171579"/>
            <a:chOff x="6384032" y="1465802"/>
            <a:chExt cx="90001" cy="89999"/>
          </a:xfrm>
        </p:grpSpPr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8" name="Овал 67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0" name="Группа 69"/>
          <p:cNvGrpSpPr/>
          <p:nvPr userDrawn="1"/>
        </p:nvGrpSpPr>
        <p:grpSpPr>
          <a:xfrm>
            <a:off x="4373922" y="108145"/>
            <a:ext cx="183755" cy="183751"/>
            <a:chOff x="6384032" y="1465802"/>
            <a:chExt cx="90001" cy="89999"/>
          </a:xfrm>
        </p:grpSpPr>
        <p:sp>
          <p:nvSpPr>
            <p:cNvPr id="71" name="Овал 70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E30512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2" name="Овал 71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FF0000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4" name="Группа 73"/>
          <p:cNvGrpSpPr/>
          <p:nvPr userDrawn="1"/>
        </p:nvGrpSpPr>
        <p:grpSpPr>
          <a:xfrm>
            <a:off x="1351909" y="120704"/>
            <a:ext cx="171583" cy="171579"/>
            <a:chOff x="6384032" y="1465802"/>
            <a:chExt cx="90001" cy="89999"/>
          </a:xfrm>
        </p:grpSpPr>
        <p:sp>
          <p:nvSpPr>
            <p:cNvPr id="75" name="Овал 74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6" name="Овал 75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7" name="Овал 76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8" name="Группа 77"/>
          <p:cNvGrpSpPr/>
          <p:nvPr userDrawn="1"/>
        </p:nvGrpSpPr>
        <p:grpSpPr>
          <a:xfrm>
            <a:off x="2066042" y="115888"/>
            <a:ext cx="171583" cy="171579"/>
            <a:chOff x="6384032" y="1465802"/>
            <a:chExt cx="90001" cy="89999"/>
          </a:xfrm>
        </p:grpSpPr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82" name="Группа 81"/>
          <p:cNvGrpSpPr/>
          <p:nvPr userDrawn="1"/>
        </p:nvGrpSpPr>
        <p:grpSpPr>
          <a:xfrm>
            <a:off x="3543539" y="115888"/>
            <a:ext cx="171583" cy="171579"/>
            <a:chOff x="6384032" y="1465802"/>
            <a:chExt cx="90001" cy="89999"/>
          </a:xfrm>
        </p:grpSpPr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5" name="Овал 84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86" name="TextBox 85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456519" y="112083"/>
            <a:ext cx="1513603" cy="235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rgbClr val="FF0000"/>
                </a:solidFill>
                <a:latin typeface="+mn-lt"/>
                <a:cs typeface="Arial" panose="020B0604020202020204" pitchFamily="34" charset="0"/>
              </a:rPr>
              <a:t>Приложения</a:t>
            </a:r>
            <a:endParaRPr lang="ru-RU" sz="1600" b="1" dirty="0">
              <a:solidFill>
                <a:srgbClr val="FF0000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2822987" y="114230"/>
            <a:ext cx="171583" cy="171579"/>
            <a:chOff x="6384032" y="1465802"/>
            <a:chExt cx="90001" cy="89999"/>
          </a:xfrm>
        </p:grpSpPr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9" name="Овал 88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45" name="Прямая соединительная линия 44"/>
          <p:cNvCxnSpPr/>
          <p:nvPr userDrawn="1"/>
        </p:nvCxnSpPr>
        <p:spPr>
          <a:xfrm>
            <a:off x="1842762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 userDrawn="1"/>
        </p:nvCxnSpPr>
        <p:spPr>
          <a:xfrm>
            <a:off x="2630572" y="199808"/>
            <a:ext cx="192800" cy="187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 userDrawn="1"/>
        </p:nvCxnSpPr>
        <p:spPr>
          <a:xfrm>
            <a:off x="3328731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 userDrawn="1"/>
        </p:nvCxnSpPr>
        <p:spPr>
          <a:xfrm>
            <a:off x="4154374" y="197936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 userDrawn="1"/>
        </p:nvCxnSpPr>
        <p:spPr>
          <a:xfrm>
            <a:off x="164064" y="210222"/>
            <a:ext cx="1192936" cy="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0350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142">
          <p15:clr>
            <a:srgbClr val="FBAE40"/>
          </p15:clr>
        </p15:guide>
        <p15:guide id="3" orient="horz" pos="73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orient="horz" pos="2360">
          <p15:clr>
            <a:srgbClr val="FBAE40"/>
          </p15:clr>
        </p15:guide>
        <p15:guide id="6" orient="horz" pos="2460">
          <p15:clr>
            <a:srgbClr val="FBAE40"/>
          </p15:clr>
        </p15:guide>
        <p15:guide id="7" orient="horz" pos="256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FEBA5A60-81BB-44F1-9637-A18394B5220C}"/>
              </a:ext>
            </a:extLst>
          </p:cNvPr>
          <p:cNvGrpSpPr/>
          <p:nvPr userDrawn="1"/>
        </p:nvGrpSpPr>
        <p:grpSpPr>
          <a:xfrm>
            <a:off x="11208568" y="6417332"/>
            <a:ext cx="774212" cy="193007"/>
            <a:chOff x="-3138818" y="3304987"/>
            <a:chExt cx="1687512" cy="420688"/>
          </a:xfrm>
        </p:grpSpPr>
        <p:sp>
          <p:nvSpPr>
            <p:cNvPr id="27" name="Freeform 33">
              <a:extLst>
                <a:ext uri="{FF2B5EF4-FFF2-40B4-BE49-F238E27FC236}">
                  <a16:creationId xmlns:a16="http://schemas.microsoft.com/office/drawing/2014/main" id="{E9799C2B-2CD3-4909-B0E4-E7F1A9643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38818" y="3304987"/>
              <a:ext cx="300038" cy="420688"/>
            </a:xfrm>
            <a:custGeom>
              <a:avLst/>
              <a:gdLst>
                <a:gd name="T0" fmla="*/ 136 w 272"/>
                <a:gd name="T1" fmla="*/ 0 h 381"/>
                <a:gd name="T2" fmla="*/ 46 w 272"/>
                <a:gd name="T3" fmla="*/ 73 h 381"/>
                <a:gd name="T4" fmla="*/ 0 w 272"/>
                <a:gd name="T5" fmla="*/ 231 h 381"/>
                <a:gd name="T6" fmla="*/ 136 w 272"/>
                <a:gd name="T7" fmla="*/ 381 h 381"/>
                <a:gd name="T8" fmla="*/ 272 w 272"/>
                <a:gd name="T9" fmla="*/ 231 h 381"/>
                <a:gd name="T10" fmla="*/ 226 w 272"/>
                <a:gd name="T11" fmla="*/ 73 h 381"/>
                <a:gd name="T12" fmla="*/ 136 w 272"/>
                <a:gd name="T13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2" h="381">
                  <a:moveTo>
                    <a:pt x="136" y="0"/>
                  </a:moveTo>
                  <a:cubicBezTo>
                    <a:pt x="107" y="0"/>
                    <a:pt x="74" y="27"/>
                    <a:pt x="46" y="73"/>
                  </a:cubicBezTo>
                  <a:cubicBezTo>
                    <a:pt x="17" y="121"/>
                    <a:pt x="0" y="179"/>
                    <a:pt x="0" y="231"/>
                  </a:cubicBezTo>
                  <a:cubicBezTo>
                    <a:pt x="0" y="305"/>
                    <a:pt x="42" y="381"/>
                    <a:pt x="136" y="381"/>
                  </a:cubicBezTo>
                  <a:cubicBezTo>
                    <a:pt x="230" y="381"/>
                    <a:pt x="272" y="305"/>
                    <a:pt x="272" y="231"/>
                  </a:cubicBezTo>
                  <a:cubicBezTo>
                    <a:pt x="272" y="179"/>
                    <a:pt x="255" y="121"/>
                    <a:pt x="226" y="73"/>
                  </a:cubicBezTo>
                  <a:cubicBezTo>
                    <a:pt x="198" y="27"/>
                    <a:pt x="164" y="0"/>
                    <a:pt x="136" y="0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Freeform 34">
              <a:extLst>
                <a:ext uri="{FF2B5EF4-FFF2-40B4-BE49-F238E27FC236}">
                  <a16:creationId xmlns:a16="http://schemas.microsoft.com/office/drawing/2014/main" id="{3FEFE00C-0E8C-4331-A50C-A97C69B0097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178381" y="3327212"/>
              <a:ext cx="322263" cy="374650"/>
            </a:xfrm>
            <a:custGeom>
              <a:avLst/>
              <a:gdLst>
                <a:gd name="T0" fmla="*/ 0 w 203"/>
                <a:gd name="T1" fmla="*/ 64 h 236"/>
                <a:gd name="T2" fmla="*/ 66 w 203"/>
                <a:gd name="T3" fmla="*/ 64 h 236"/>
                <a:gd name="T4" fmla="*/ 66 w 203"/>
                <a:gd name="T5" fmla="*/ 236 h 236"/>
                <a:gd name="T6" fmla="*/ 137 w 203"/>
                <a:gd name="T7" fmla="*/ 236 h 236"/>
                <a:gd name="T8" fmla="*/ 137 w 203"/>
                <a:gd name="T9" fmla="*/ 64 h 236"/>
                <a:gd name="T10" fmla="*/ 203 w 203"/>
                <a:gd name="T11" fmla="*/ 64 h 236"/>
                <a:gd name="T12" fmla="*/ 203 w 203"/>
                <a:gd name="T13" fmla="*/ 0 h 236"/>
                <a:gd name="T14" fmla="*/ 0 w 203"/>
                <a:gd name="T15" fmla="*/ 0 h 236"/>
                <a:gd name="T16" fmla="*/ 0 w 203"/>
                <a:gd name="T17" fmla="*/ 6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236">
                  <a:moveTo>
                    <a:pt x="0" y="64"/>
                  </a:moveTo>
                  <a:lnTo>
                    <a:pt x="66" y="64"/>
                  </a:lnTo>
                  <a:lnTo>
                    <a:pt x="66" y="236"/>
                  </a:lnTo>
                  <a:lnTo>
                    <a:pt x="137" y="236"/>
                  </a:lnTo>
                  <a:lnTo>
                    <a:pt x="137" y="64"/>
                  </a:lnTo>
                  <a:lnTo>
                    <a:pt x="203" y="64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57286790-9B6E-4495-8E13-11CD2362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48181" y="3327212"/>
              <a:ext cx="396875" cy="374650"/>
            </a:xfrm>
            <a:custGeom>
              <a:avLst/>
              <a:gdLst>
                <a:gd name="T0" fmla="*/ 211 w 360"/>
                <a:gd name="T1" fmla="*/ 92 h 340"/>
                <a:gd name="T2" fmla="*/ 360 w 360"/>
                <a:gd name="T3" fmla="*/ 92 h 340"/>
                <a:gd name="T4" fmla="*/ 360 w 360"/>
                <a:gd name="T5" fmla="*/ 0 h 340"/>
                <a:gd name="T6" fmla="*/ 211 w 360"/>
                <a:gd name="T7" fmla="*/ 0 h 340"/>
                <a:gd name="T8" fmla="*/ 0 w 360"/>
                <a:gd name="T9" fmla="*/ 170 h 340"/>
                <a:gd name="T10" fmla="*/ 211 w 360"/>
                <a:gd name="T11" fmla="*/ 340 h 340"/>
                <a:gd name="T12" fmla="*/ 360 w 360"/>
                <a:gd name="T13" fmla="*/ 340 h 340"/>
                <a:gd name="T14" fmla="*/ 360 w 360"/>
                <a:gd name="T15" fmla="*/ 249 h 340"/>
                <a:gd name="T16" fmla="*/ 211 w 360"/>
                <a:gd name="T17" fmla="*/ 249 h 340"/>
                <a:gd name="T18" fmla="*/ 105 w 360"/>
                <a:gd name="T19" fmla="*/ 170 h 340"/>
                <a:gd name="T20" fmla="*/ 211 w 360"/>
                <a:gd name="T21" fmla="*/ 92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0" h="340">
                  <a:moveTo>
                    <a:pt x="211" y="92"/>
                  </a:moveTo>
                  <a:cubicBezTo>
                    <a:pt x="360" y="92"/>
                    <a:pt x="360" y="92"/>
                    <a:pt x="360" y="92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73" y="0"/>
                    <a:pt x="0" y="69"/>
                    <a:pt x="0" y="170"/>
                  </a:cubicBezTo>
                  <a:cubicBezTo>
                    <a:pt x="0" y="272"/>
                    <a:pt x="73" y="340"/>
                    <a:pt x="211" y="340"/>
                  </a:cubicBezTo>
                  <a:cubicBezTo>
                    <a:pt x="360" y="340"/>
                    <a:pt x="360" y="340"/>
                    <a:pt x="360" y="340"/>
                  </a:cubicBezTo>
                  <a:cubicBezTo>
                    <a:pt x="360" y="249"/>
                    <a:pt x="360" y="249"/>
                    <a:pt x="360" y="249"/>
                  </a:cubicBezTo>
                  <a:cubicBezTo>
                    <a:pt x="211" y="249"/>
                    <a:pt x="211" y="249"/>
                    <a:pt x="211" y="249"/>
                  </a:cubicBezTo>
                  <a:cubicBezTo>
                    <a:pt x="147" y="249"/>
                    <a:pt x="105" y="226"/>
                    <a:pt x="105" y="170"/>
                  </a:cubicBezTo>
                  <a:cubicBezTo>
                    <a:pt x="105" y="115"/>
                    <a:pt x="147" y="92"/>
                    <a:pt x="211" y="92"/>
                  </a:cubicBez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67DF37DA-D8CF-4A34-8D88-B3381ED85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726068" y="3327212"/>
              <a:ext cx="517525" cy="374650"/>
            </a:xfrm>
            <a:custGeom>
              <a:avLst/>
              <a:gdLst>
                <a:gd name="T0" fmla="*/ 201 w 326"/>
                <a:gd name="T1" fmla="*/ 0 h 236"/>
                <a:gd name="T2" fmla="*/ 163 w 326"/>
                <a:gd name="T3" fmla="*/ 141 h 236"/>
                <a:gd name="T4" fmla="*/ 125 w 326"/>
                <a:gd name="T5" fmla="*/ 0 h 236"/>
                <a:gd name="T6" fmla="*/ 0 w 326"/>
                <a:gd name="T7" fmla="*/ 0 h 236"/>
                <a:gd name="T8" fmla="*/ 0 w 326"/>
                <a:gd name="T9" fmla="*/ 236 h 236"/>
                <a:gd name="T10" fmla="*/ 71 w 326"/>
                <a:gd name="T11" fmla="*/ 236 h 236"/>
                <a:gd name="T12" fmla="*/ 71 w 326"/>
                <a:gd name="T13" fmla="*/ 44 h 236"/>
                <a:gd name="T14" fmla="*/ 122 w 326"/>
                <a:gd name="T15" fmla="*/ 236 h 236"/>
                <a:gd name="T16" fmla="*/ 204 w 326"/>
                <a:gd name="T17" fmla="*/ 236 h 236"/>
                <a:gd name="T18" fmla="*/ 255 w 326"/>
                <a:gd name="T19" fmla="*/ 44 h 236"/>
                <a:gd name="T20" fmla="*/ 255 w 326"/>
                <a:gd name="T21" fmla="*/ 236 h 236"/>
                <a:gd name="T22" fmla="*/ 326 w 326"/>
                <a:gd name="T23" fmla="*/ 236 h 236"/>
                <a:gd name="T24" fmla="*/ 326 w 326"/>
                <a:gd name="T25" fmla="*/ 0 h 236"/>
                <a:gd name="T26" fmla="*/ 201 w 326"/>
                <a:gd name="T27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6" h="236">
                  <a:moveTo>
                    <a:pt x="201" y="0"/>
                  </a:moveTo>
                  <a:lnTo>
                    <a:pt x="163" y="141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36"/>
                  </a:lnTo>
                  <a:lnTo>
                    <a:pt x="71" y="236"/>
                  </a:lnTo>
                  <a:lnTo>
                    <a:pt x="71" y="44"/>
                  </a:lnTo>
                  <a:lnTo>
                    <a:pt x="122" y="236"/>
                  </a:lnTo>
                  <a:lnTo>
                    <a:pt x="204" y="236"/>
                  </a:lnTo>
                  <a:lnTo>
                    <a:pt x="255" y="44"/>
                  </a:lnTo>
                  <a:lnTo>
                    <a:pt x="255" y="236"/>
                  </a:lnTo>
                  <a:lnTo>
                    <a:pt x="326" y="236"/>
                  </a:lnTo>
                  <a:lnTo>
                    <a:pt x="326" y="0"/>
                  </a:lnTo>
                  <a:lnTo>
                    <a:pt x="201" y="0"/>
                  </a:lnTo>
                  <a:close/>
                </a:path>
              </a:pathLst>
            </a:custGeom>
            <a:solidFill>
              <a:srgbClr val="E306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081D3BC7-F25E-48F2-BD71-AB005A402937}"/>
              </a:ext>
            </a:extLst>
          </p:cNvPr>
          <p:cNvSpPr/>
          <p:nvPr userDrawn="1"/>
        </p:nvSpPr>
        <p:spPr>
          <a:xfrm rot="16200000">
            <a:off x="5899496" y="-5917668"/>
            <a:ext cx="404666" cy="12240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68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16200000" scaled="1"/>
            <a:tileRect/>
          </a:gradFill>
          <a:ln w="1714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TS Sans"/>
              <a:ea typeface="+mn-ea"/>
              <a:cs typeface="+mn-cs"/>
            </a:endParaRPr>
          </a:p>
        </p:txBody>
      </p:sp>
      <p:sp>
        <p:nvSpPr>
          <p:cNvPr id="46" name="TextBox 45">
            <a:hlinkClick r:id="" action="ppaction://noaction"/>
            <a:extLst>
              <a:ext uri="{FF2B5EF4-FFF2-40B4-BE49-F238E27FC236}">
                <a16:creationId xmlns:a16="http://schemas.microsoft.com/office/drawing/2014/main" id="{D8733E21-CE34-4A1A-9B65-6AC7795AD250}"/>
              </a:ext>
            </a:extLst>
          </p:cNvPr>
          <p:cNvSpPr txBox="1"/>
          <p:nvPr userDrawn="1"/>
        </p:nvSpPr>
        <p:spPr>
          <a:xfrm>
            <a:off x="1343472" y="-27534"/>
            <a:ext cx="1224000" cy="432000"/>
          </a:xfrm>
          <a:prstGeom prst="rect">
            <a:avLst/>
          </a:prstGeom>
          <a:solidFill>
            <a:srgbClr val="828282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hlinkClick r:id="" action="ppaction://noaction"/>
            <a:extLst>
              <a:ext uri="{FF2B5EF4-FFF2-40B4-BE49-F238E27FC236}">
                <a16:creationId xmlns:a16="http://schemas.microsoft.com/office/drawing/2014/main" id="{E6AE5F0D-98E2-4268-B781-F00D5978873E}"/>
              </a:ext>
            </a:extLst>
          </p:cNvPr>
          <p:cNvSpPr txBox="1"/>
          <p:nvPr userDrawn="1"/>
        </p:nvSpPr>
        <p:spPr>
          <a:xfrm>
            <a:off x="2066143" y="-27534"/>
            <a:ext cx="1224000" cy="432000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hlinkClick r:id="" action="ppaction://noaction"/>
            <a:extLst>
              <a:ext uri="{FF2B5EF4-FFF2-40B4-BE49-F238E27FC236}">
                <a16:creationId xmlns:a16="http://schemas.microsoft.com/office/drawing/2014/main" id="{22E6DD5C-CF42-4DF6-8DB5-22096BCDEB4A}"/>
              </a:ext>
            </a:extLst>
          </p:cNvPr>
          <p:cNvSpPr txBox="1"/>
          <p:nvPr userDrawn="1"/>
        </p:nvSpPr>
        <p:spPr>
          <a:xfrm>
            <a:off x="2808319" y="-27534"/>
            <a:ext cx="1260000" cy="432000"/>
          </a:xfrm>
          <a:prstGeom prst="rect">
            <a:avLst/>
          </a:prstGeom>
          <a:solidFill>
            <a:srgbClr val="8C8C8C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3502635" y="-27484"/>
            <a:ext cx="1260000" cy="432000"/>
          </a:xfrm>
          <a:prstGeom prst="rect">
            <a:avLst/>
          </a:prstGeom>
          <a:solidFill>
            <a:srgbClr val="919191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7329" y="59558"/>
            <a:ext cx="1375568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Конкурентный </a:t>
            </a:r>
          </a:p>
          <a:p>
            <a:pPr>
              <a:lnSpc>
                <a:spcPts val="1000"/>
              </a:lnSpc>
            </a:pPr>
            <a:r>
              <a:rPr lang="ru-RU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анализ</a:t>
            </a:r>
          </a:p>
        </p:txBody>
      </p:sp>
      <p:sp>
        <p:nvSpPr>
          <p:cNvPr id="51" name="TextBox 50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1406382" y="116632"/>
            <a:ext cx="602767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C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2" name="TextBox 51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131736" y="116632"/>
            <a:ext cx="66522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B2B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3" name="TextBox 52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2887674" y="116632"/>
            <a:ext cx="527394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en-GB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FIX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91" name="TextBox 90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3627560" y="120704"/>
            <a:ext cx="77996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ТВ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92" name="TextBox 91">
            <a:hlinkClick r:id="" action="ppaction://noaction"/>
            <a:extLst>
              <a:ext uri="{FF2B5EF4-FFF2-40B4-BE49-F238E27FC236}">
                <a16:creationId xmlns:a16="http://schemas.microsoft.com/office/drawing/2014/main" id="{D6AB5CA3-F149-43DB-8305-C171EF95A0AB}"/>
              </a:ext>
            </a:extLst>
          </p:cNvPr>
          <p:cNvSpPr txBox="1"/>
          <p:nvPr userDrawn="1"/>
        </p:nvSpPr>
        <p:spPr>
          <a:xfrm>
            <a:off x="4318253" y="-31272"/>
            <a:ext cx="1634015" cy="432000"/>
          </a:xfrm>
          <a:prstGeom prst="rect">
            <a:avLst/>
          </a:prstGeom>
          <a:solidFill>
            <a:srgbClr val="969696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3" name="Группа 92"/>
          <p:cNvGrpSpPr/>
          <p:nvPr userDrawn="1"/>
        </p:nvGrpSpPr>
        <p:grpSpPr>
          <a:xfrm>
            <a:off x="-28219" y="115888"/>
            <a:ext cx="171583" cy="171579"/>
            <a:chOff x="6384032" y="1465802"/>
            <a:chExt cx="90001" cy="89999"/>
          </a:xfrm>
        </p:grpSpPr>
        <p:sp>
          <p:nvSpPr>
            <p:cNvPr id="94" name="Овал 93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5" name="Овал 94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1" name="Группа 100"/>
          <p:cNvGrpSpPr/>
          <p:nvPr userDrawn="1"/>
        </p:nvGrpSpPr>
        <p:grpSpPr>
          <a:xfrm>
            <a:off x="1355497" y="115888"/>
            <a:ext cx="171583" cy="171579"/>
            <a:chOff x="6384032" y="1465802"/>
            <a:chExt cx="90001" cy="89999"/>
          </a:xfrm>
        </p:grpSpPr>
        <p:sp>
          <p:nvSpPr>
            <p:cNvPr id="102" name="Овал 101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3" name="Овал 102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4" name="Овал 103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5" name="Группа 104"/>
          <p:cNvGrpSpPr/>
          <p:nvPr userDrawn="1"/>
        </p:nvGrpSpPr>
        <p:grpSpPr>
          <a:xfrm>
            <a:off x="2074742" y="115888"/>
            <a:ext cx="171583" cy="171579"/>
            <a:chOff x="6384032" y="1465802"/>
            <a:chExt cx="90001" cy="89999"/>
          </a:xfrm>
        </p:grpSpPr>
        <p:sp>
          <p:nvSpPr>
            <p:cNvPr id="106" name="Овал 105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7" name="Овал 106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9" name="Группа 108"/>
          <p:cNvGrpSpPr/>
          <p:nvPr userDrawn="1"/>
        </p:nvGrpSpPr>
        <p:grpSpPr>
          <a:xfrm>
            <a:off x="2823372" y="115888"/>
            <a:ext cx="171583" cy="171579"/>
            <a:chOff x="6384032" y="1465802"/>
            <a:chExt cx="90001" cy="89999"/>
          </a:xfrm>
        </p:grpSpPr>
        <p:sp>
          <p:nvSpPr>
            <p:cNvPr id="110" name="Овал 109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1" name="Овал 110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2" name="Овал 111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13" name="Группа 112"/>
          <p:cNvGrpSpPr/>
          <p:nvPr userDrawn="1"/>
        </p:nvGrpSpPr>
        <p:grpSpPr>
          <a:xfrm>
            <a:off x="3543539" y="115888"/>
            <a:ext cx="171583" cy="171579"/>
            <a:chOff x="6384032" y="1465802"/>
            <a:chExt cx="90001" cy="89999"/>
          </a:xfrm>
        </p:grpSpPr>
        <p:sp>
          <p:nvSpPr>
            <p:cNvPr id="114" name="Овал 113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5" name="Овал 114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6" name="Овал 115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17" name="TextBox 116">
            <a:hlinkClick r:id="" action="ppaction://noaction"/>
            <a:extLst>
              <a:ext uri="{FF2B5EF4-FFF2-40B4-BE49-F238E27FC236}">
                <a16:creationId xmlns:a16="http://schemas.microsoft.com/office/drawing/2014/main" id="{214EAAD6-E22A-42A2-8B3A-48F0D71FBFC1}"/>
              </a:ext>
            </a:extLst>
          </p:cNvPr>
          <p:cNvSpPr txBox="1"/>
          <p:nvPr userDrawn="1"/>
        </p:nvSpPr>
        <p:spPr>
          <a:xfrm>
            <a:off x="4456519" y="112083"/>
            <a:ext cx="1513603" cy="220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1600" b="1" baseline="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риложения</a:t>
            </a:r>
            <a:endParaRPr lang="ru-RU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18" name="Группа 117"/>
          <p:cNvGrpSpPr/>
          <p:nvPr userDrawn="1"/>
        </p:nvGrpSpPr>
        <p:grpSpPr>
          <a:xfrm>
            <a:off x="4372498" y="115888"/>
            <a:ext cx="171583" cy="171579"/>
            <a:chOff x="6384032" y="1465802"/>
            <a:chExt cx="90001" cy="89999"/>
          </a:xfrm>
        </p:grpSpPr>
        <p:sp>
          <p:nvSpPr>
            <p:cNvPr id="119" name="Овал 118">
              <a:extLst>
                <a:ext uri="{FF2B5EF4-FFF2-40B4-BE49-F238E27FC236}">
                  <a16:creationId xmlns:a16="http://schemas.microsoft.com/office/drawing/2014/main" id="{12474690-8CCA-404D-B315-F729079EB948}"/>
                </a:ext>
              </a:extLst>
            </p:cNvPr>
            <p:cNvSpPr/>
            <p:nvPr userDrawn="1"/>
          </p:nvSpPr>
          <p:spPr>
            <a:xfrm>
              <a:off x="6384032" y="1465802"/>
              <a:ext cx="90001" cy="89999"/>
            </a:xfrm>
            <a:prstGeom prst="ellipse">
              <a:avLst/>
            </a:prstGeom>
            <a:solidFill>
              <a:srgbClr val="5C7889">
                <a:alpha val="2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0" name="Овал 119">
              <a:extLst>
                <a:ext uri="{FF2B5EF4-FFF2-40B4-BE49-F238E27FC236}">
                  <a16:creationId xmlns:a16="http://schemas.microsoft.com/office/drawing/2014/main" id="{0FAFDC41-9E5E-4425-B45E-C33FE13F9E8C}"/>
                </a:ext>
              </a:extLst>
            </p:cNvPr>
            <p:cNvSpPr/>
            <p:nvPr userDrawn="1"/>
          </p:nvSpPr>
          <p:spPr>
            <a:xfrm>
              <a:off x="6402457" y="1484746"/>
              <a:ext cx="54001" cy="54000"/>
            </a:xfrm>
            <a:prstGeom prst="ellipse">
              <a:avLst/>
            </a:prstGeom>
            <a:solidFill>
              <a:srgbClr val="2E5268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1" name="Овал 120">
              <a:extLst>
                <a:ext uri="{FF2B5EF4-FFF2-40B4-BE49-F238E27FC236}">
                  <a16:creationId xmlns:a16="http://schemas.microsoft.com/office/drawing/2014/main" id="{D5E24B09-0857-4C39-9281-43250ECE60CC}"/>
                </a:ext>
              </a:extLst>
            </p:cNvPr>
            <p:cNvSpPr/>
            <p:nvPr userDrawn="1"/>
          </p:nvSpPr>
          <p:spPr>
            <a:xfrm flipH="1">
              <a:off x="6411822" y="1494575"/>
              <a:ext cx="36001" cy="3599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000"/>
                </a:lnSpc>
              </a:pPr>
              <a:endParaRPr lang="ru-RU" sz="1600" b="1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44" name="Прямая соединительная линия 43"/>
          <p:cNvCxnSpPr/>
          <p:nvPr userDrawn="1"/>
        </p:nvCxnSpPr>
        <p:spPr>
          <a:xfrm>
            <a:off x="1842762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 userDrawn="1"/>
        </p:nvCxnSpPr>
        <p:spPr>
          <a:xfrm>
            <a:off x="2630572" y="199808"/>
            <a:ext cx="192800" cy="187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 userDrawn="1"/>
        </p:nvCxnSpPr>
        <p:spPr>
          <a:xfrm>
            <a:off x="3328731" y="199807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 userDrawn="1"/>
        </p:nvCxnSpPr>
        <p:spPr>
          <a:xfrm>
            <a:off x="4154374" y="197936"/>
            <a:ext cx="231980" cy="1871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 userDrawn="1"/>
        </p:nvCxnSpPr>
        <p:spPr>
          <a:xfrm>
            <a:off x="164064" y="210222"/>
            <a:ext cx="1192936" cy="0"/>
          </a:xfrm>
          <a:prstGeom prst="line">
            <a:avLst/>
          </a:prstGeom>
          <a:ln w="34925">
            <a:solidFill>
              <a:schemeClr val="bg1">
                <a:alpha val="53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2484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0">
          <p15:clr>
            <a:srgbClr val="FBAE40"/>
          </p15:clr>
        </p15:guide>
        <p15:guide id="2" orient="horz" pos="142">
          <p15:clr>
            <a:srgbClr val="FBAE40"/>
          </p15:clr>
        </p15:guide>
        <p15:guide id="3" orient="horz" pos="73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orient="horz" pos="2360">
          <p15:clr>
            <a:srgbClr val="FBAE40"/>
          </p15:clr>
        </p15:guide>
        <p15:guide id="6" orient="horz" pos="2460">
          <p15:clr>
            <a:srgbClr val="FBAE40"/>
          </p15:clr>
        </p15:guide>
        <p15:guide id="7" orient="horz" pos="25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E91EFA-7FEC-0A43-A2D5-D22AC378C7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9300" y="2277270"/>
            <a:ext cx="10693400" cy="3816349"/>
          </a:xfrm>
        </p:spPr>
        <p:txBody>
          <a:bodyPr anchor="t"/>
          <a:lstStyle>
            <a:lvl1pPr marL="342900" indent="-3429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 marL="285750" indent="-2857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2pPr>
            <a:lvl3pPr marL="285750" indent="-2857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3pPr>
            <a:lvl4pPr marL="228600" indent="-2286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4pPr>
            <a:lvl5pPr marL="171450" indent="-1714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5D3C16F-BFD3-5C45-8A75-F945243BD0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B724BC-E703-6F48-9C51-34DA45DA1D84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81B983CD-8697-7A4C-98BF-C96A504EBB60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3C623C0-AA65-6D47-BD56-F2E05B18AD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674722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 для экран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2" y="0"/>
            <a:ext cx="12188388" cy="6858000"/>
          </a:xfrm>
          <a:prstGeom prst="rect">
            <a:avLst/>
          </a:prstGeom>
        </p:spPr>
      </p:pic>
      <p:sp>
        <p:nvSpPr>
          <p:cNvPr id="5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958850" y="4274693"/>
            <a:ext cx="4800601" cy="465600"/>
          </a:xfrm>
        </p:spPr>
        <p:txBody>
          <a:bodyPr anchor="ctr">
            <a:normAutofit/>
          </a:bodyPr>
          <a:lstStyle>
            <a:lvl1pPr marL="0" indent="0">
              <a:lnSpc>
                <a:spcPts val="2133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Название департамента</a:t>
            </a:r>
            <a:br>
              <a:rPr lang="ru-RU" dirty="0"/>
            </a:br>
            <a:r>
              <a:rPr lang="ru-RU" dirty="0"/>
              <a:t>ФИО и должность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8849" y="4920738"/>
            <a:ext cx="3233800" cy="256924"/>
          </a:xfrm>
        </p:spPr>
        <p:txBody>
          <a:bodyPr lIns="0" tIns="0" rIns="0" bIns="0" anchor="t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7A926CA6-6EF8-41CA-8EFE-C64C66595646}" type="datetime1">
              <a:rPr lang="ru-RU" smtClean="0"/>
              <a:t>06.08.2020</a:t>
            </a:fld>
            <a:endParaRPr lang="ru-RU" dirty="0"/>
          </a:p>
        </p:txBody>
      </p:sp>
      <p:sp>
        <p:nvSpPr>
          <p:cNvPr id="23" name="Текст 22"/>
          <p:cNvSpPr>
            <a:spLocks noGrp="1"/>
          </p:cNvSpPr>
          <p:nvPr>
            <p:ph type="body" sz="quarter" idx="14" hasCustomPrompt="1"/>
          </p:nvPr>
        </p:nvSpPr>
        <p:spPr>
          <a:xfrm>
            <a:off x="958850" y="2682240"/>
            <a:ext cx="4800601" cy="136482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3733"/>
              </a:lnSpc>
              <a:buNone/>
              <a:defRPr sz="37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презентации</a:t>
            </a:r>
            <a:r>
              <a:rPr lang="en-US" dirty="0"/>
              <a:t> </a:t>
            </a:r>
            <a:r>
              <a:rPr lang="ru-RU" dirty="0"/>
              <a:t>не более 3-х строк, 2</a:t>
            </a:r>
            <a:r>
              <a:rPr lang="en-US" dirty="0"/>
              <a:t>8pt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771525" y="5324475"/>
            <a:ext cx="5192670" cy="6762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568" y="5294418"/>
            <a:ext cx="3645292" cy="837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518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21">
          <p15:clr>
            <a:srgbClr val="FBAE40"/>
          </p15:clr>
        </p15:guide>
        <p15:guide id="2" pos="5239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yzhenk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Слайд think-cell" r:id="rId5" imgW="366" imgH="367" progId="TCLayout.ActiveDocument.1">
                  <p:embed/>
                </p:oleObj>
              </mc:Choice>
              <mc:Fallback>
                <p:oleObj name="Слайд think-cell" r:id="rId5" imgW="366" imgH="367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4" name="TextBox 11"/>
          <p:cNvSpPr txBox="1">
            <a:spLocks noChangeArrowheads="1"/>
          </p:cNvSpPr>
          <p:nvPr userDrawn="1"/>
        </p:nvSpPr>
        <p:spPr bwMode="auto">
          <a:xfrm>
            <a:off x="575734" y="5977890"/>
            <a:ext cx="3407833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080">
              <a:solidFill>
                <a:prstClr val="black"/>
              </a:solidFill>
            </a:endParaRPr>
          </a:p>
          <a:p>
            <a:pPr eaLnBrk="1" hangingPunct="1">
              <a:defRPr/>
            </a:pPr>
            <a:endParaRPr lang="en-US" altLang="ru-RU" sz="108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4066" y="168353"/>
            <a:ext cx="11384105" cy="402291"/>
          </a:xfrm>
          <a:prstGeom prst="rect">
            <a:avLst/>
          </a:prstGeom>
        </p:spPr>
        <p:txBody>
          <a:bodyPr wrap="square" lIns="90000" tIns="46800" rIns="90000" bIns="46800" anchor="ctr">
            <a:spAutoFit/>
          </a:bodyPr>
          <a:lstStyle>
            <a:lvl1pPr marL="0" indent="0" algn="l">
              <a:defRPr lang="en-US" sz="2000" b="1" kern="1200" baseline="0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738919" y="6549081"/>
            <a:ext cx="45308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3FF6692-29F6-4CDE-952F-13046C789BE3}" type="slidenum">
              <a:rPr lang="ru-RU" sz="900" b="1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ru-RU" sz="900" b="1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Freeform 14">
            <a:extLst>
              <a:ext uri="{FF2B5EF4-FFF2-40B4-BE49-F238E27FC236}">
                <a16:creationId xmlns:a16="http://schemas.microsoft.com/office/drawing/2014/main" id="{81B983CD-8697-7A4C-98BF-C96A504EBB60}"/>
              </a:ext>
            </a:extLst>
          </p:cNvPr>
          <p:cNvSpPr/>
          <p:nvPr userDrawn="1"/>
        </p:nvSpPr>
        <p:spPr>
          <a:xfrm>
            <a:off x="-10189" y="-5209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>
              <a:latin typeface="MTS Sans" panose="02000000000000000000" pitchFamily="2" charset="0"/>
              <a:ea typeface="MTS Sans" panose="02000000000000000000" pitchFamily="2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87" y="6565557"/>
            <a:ext cx="1011252" cy="23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487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муц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/>
          <a:stretch/>
        </p:blipFill>
        <p:spPr>
          <a:xfrm>
            <a:off x="0" y="-2335128"/>
            <a:ext cx="12204000" cy="926281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5817" y="6095173"/>
            <a:ext cx="1644031" cy="604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4976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3816350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4F84BBB-00C0-3440-B83A-FD7821342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A0E2698-CFB4-5348-82D6-2C8B43CC18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2218249240"/>
      </p:ext>
    </p:extLst>
  </p:cSld>
  <p:clrMapOvr>
    <a:masterClrMapping/>
  </p:clrMapOvr>
  <p:transition spd="slow">
    <p:push dir="u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E0695E-B8B4-BB41-B1AA-0922B91ECB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5823A5-9DC9-FC47-A61D-B973DFF43A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38B032B-5FFB-A04A-A4E6-95883F533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BA0D5D-4B71-E94B-AD62-BDD256CD99A1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897927493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B65CD49-A430-584B-BF5D-7539BA2AAB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462" r="16067" b="2660"/>
          <a:stretch/>
        </p:blipFill>
        <p:spPr>
          <a:xfrm>
            <a:off x="0" y="0"/>
            <a:ext cx="12190157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2ADE8B3-2EB0-5342-867A-941B7C6D3956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n-cs"/>
              <a:sym typeface="Helvetica Neue Medium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59A79C8C-5B35-984D-A8C3-21075CC8CD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67B6C43-2E54-2C43-B85D-F8D4572F42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2EAF83E-89DC-9747-97CB-9B58541E8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6EBCFB9-5B44-3849-847A-66372F120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5653D6-D01A-2349-9D17-6471B7641A8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824547730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3671660"/>
          </a:xfrm>
          <a:prstGeom prst="rect">
            <a:avLst/>
          </a:prstGeom>
        </p:spPr>
        <p:txBody>
          <a:bodyPr anchor="b"/>
          <a:lstStyle>
            <a:lvl1pPr>
              <a:lnSpc>
                <a:spcPts val="5000"/>
              </a:lnSpc>
              <a:defRPr sz="5000" b="1" i="0" spc="0" baseline="0">
                <a:ln>
                  <a:noFill/>
                </a:ln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57FDAA5-7831-2B46-B38B-A80F0EE48D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C460590-BBFC-EA43-930E-F3DE8442A0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4077863457"/>
      </p:ext>
    </p:extLst>
  </p:cSld>
  <p:clrMapOvr>
    <a:masterClrMapping/>
  </p:clrMapOvr>
  <p:transition spd="slow">
    <p:push dir="u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5"/>
            <a:ext cx="7632700" cy="421957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000"/>
              </a:lnSpc>
              <a:defRPr sz="5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56C3205-F04C-8444-9090-77E3017FFC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B815328-AB68-BC48-85AB-6D766634E1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8501ED-A304-3246-A8D2-A3604BEC9B9A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147706836"/>
      </p:ext>
    </p:extLst>
  </p:cSld>
  <p:clrMapOvr>
    <a:masterClrMapping/>
  </p:clrMapOvr>
  <p:transition spd="slow">
    <p:push dir="u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B65CD49-A430-584B-BF5D-7539BA2AAB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462" r="16067" b="2660"/>
          <a:stretch/>
        </p:blipFill>
        <p:spPr>
          <a:xfrm>
            <a:off x="0" y="0"/>
            <a:ext cx="12190157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2ADE8B3-2EB0-5342-867A-941B7C6D3956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n-cs"/>
              <a:sym typeface="Helvetica Neue Medium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59A79C8C-5B35-984D-A8C3-21075CC8CD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67B6C43-2E54-2C43-B85D-F8D4572F42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2EAF83E-89DC-9747-97CB-9B58541E8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6EBCFB9-5B44-3849-847A-66372F120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5653D6-D01A-2349-9D17-6471B7641A8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199995246"/>
      </p:ext>
    </p:extLst>
  </p:cSld>
  <p:clrMapOvr>
    <a:masterClrMapping/>
  </p:clrMapOvr>
  <p:transition spd="slow">
    <p:push dir="u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ar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unset over a body of water&#10;&#10;Description automatically generated">
            <a:extLst>
              <a:ext uri="{FF2B5EF4-FFF2-40B4-BE49-F238E27FC236}">
                <a16:creationId xmlns:a16="http://schemas.microsoft.com/office/drawing/2014/main" id="{E2C68A59-915C-C746-A9EB-2E72F8860E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7503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A742717-004D-BA49-A7A2-3FF95BE613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BECC96E-6B06-0648-A582-7E4B6D11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683C7AB-77F0-8449-A5CB-E1758F73FA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937E815-4A49-844D-A2D2-2587ACEDB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2949FA-972F-5640-88C2-05D3A30BFCDB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576867369"/>
      </p:ext>
    </p:extLst>
  </p:cSld>
  <p:clrMapOvr>
    <a:masterClrMapping/>
  </p:clrMapOvr>
  <p:transition spd="slow">
    <p:push dir="u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1A277EA-494A-BB4D-B723-B2AC3DF225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17" t="15620" r="3595" b="1440"/>
          <a:stretch/>
        </p:blipFill>
        <p:spPr>
          <a:xfrm flipH="1">
            <a:off x="-19050" y="0"/>
            <a:ext cx="12230100" cy="68770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50C1DD4-A45D-904F-917C-A8DD60875C26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n-cs"/>
              <a:sym typeface="Helvetica Neue Medium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E22F5FCD-102C-A54E-8B2F-36359BE396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B41B2DA-46F1-3244-A7F7-B9B6E9B744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7D1318C6-5899-AD45-99F8-52A2B38E44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4C7D635-1956-A44F-B408-01DCEDA43F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0CD8B7-A065-4E48-B23A-60286AA0613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759835287"/>
      </p:ext>
    </p:extLst>
  </p:cSld>
  <p:clrMapOvr>
    <a:masterClrMapping/>
  </p:clrMapOvr>
  <p:transition spd="slow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D1A49A2-612F-EF49-8144-382A1B7E3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69" b="4984"/>
          <a:stretch/>
        </p:blipFill>
        <p:spPr>
          <a:xfrm>
            <a:off x="-19050" y="0"/>
            <a:ext cx="12230100" cy="68770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6102943-B210-B24A-A595-1E83B10FB694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n-cs"/>
              <a:sym typeface="Helvetica Neue Medium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1F40C888-BAA9-3940-BC63-297EC19C5D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F80F6E8-3D18-7649-B659-5DA1A04481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495C536-172A-E241-8F9A-A63204AC1C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E54CCD3-4479-BD47-994D-B454BBC68F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BE2C07B-A6E2-2E4D-8910-A352543DECBF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819943447"/>
      </p:ext>
    </p:extLst>
  </p:cSld>
  <p:clrMapOvr>
    <a:masterClrMapping/>
  </p:clrMapOvr>
  <p:transition spd="slow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ar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19358F5-8169-644A-8D56-1F7CE86586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DD876CB-863A-4046-AF0D-B77DC7D5D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3051175"/>
            <a:ext cx="7632700" cy="3058680"/>
          </a:xfrm>
          <a:prstGeom prst="rect">
            <a:avLst/>
          </a:prstGeom>
        </p:spPr>
        <p:txBody>
          <a:bodyPr/>
          <a:lstStyle>
            <a:lvl1pPr>
              <a:defRPr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STYLE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32CB07-EAEC-5B4F-A86E-7F459C01A01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31868322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ar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unset over a body of water&#10;&#10;Description automatically generated">
            <a:extLst>
              <a:ext uri="{FF2B5EF4-FFF2-40B4-BE49-F238E27FC236}">
                <a16:creationId xmlns:a16="http://schemas.microsoft.com/office/drawing/2014/main" id="{E2C68A59-915C-C746-A9EB-2E72F8860E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7503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A742717-004D-BA49-A7A2-3FF95BE613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BECC96E-6B06-0648-A582-7E4B6D11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683C7AB-77F0-8449-A5CB-E1758F73FA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937E815-4A49-844D-A2D2-2587ACEDB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2949FA-972F-5640-88C2-05D3A30BFCDB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95823653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1A277EA-494A-BB4D-B723-B2AC3DF225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17" t="15620" r="3595" b="1440"/>
          <a:stretch/>
        </p:blipFill>
        <p:spPr>
          <a:xfrm flipH="1">
            <a:off x="-19050" y="0"/>
            <a:ext cx="12230100" cy="68770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50C1DD4-A45D-904F-917C-A8DD60875C26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n-cs"/>
              <a:sym typeface="Helvetica Neue Medium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E22F5FCD-102C-A54E-8B2F-36359BE396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B41B2DA-46F1-3244-A7F7-B9B6E9B744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7D1318C6-5899-AD45-99F8-52A2B38E44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4C7D635-1956-A44F-B408-01DCEDA43F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0CD8B7-A065-4E48-B23A-60286AA0613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91119076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D1A49A2-612F-EF49-8144-382A1B7E3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69" b="4984"/>
          <a:stretch/>
        </p:blipFill>
        <p:spPr>
          <a:xfrm>
            <a:off x="-19050" y="0"/>
            <a:ext cx="12230100" cy="68770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6102943-B210-B24A-A595-1E83B10FB694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n-cs"/>
              <a:sym typeface="Helvetica Neue Medium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1F40C888-BAA9-3940-BC63-297EC19C5D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F80F6E8-3D18-7649-B659-5DA1A04481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495C536-172A-E241-8F9A-A63204AC1C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E54CCD3-4479-BD47-994D-B454BBC68F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BE2C07B-A6E2-2E4D-8910-A352543DECBF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191769509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ar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19358F5-8169-644A-8D56-1F7CE86586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DD876CB-863A-4046-AF0D-B77DC7D5D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3051175"/>
            <a:ext cx="7632700" cy="3058680"/>
          </a:xfrm>
          <a:prstGeom prst="rect">
            <a:avLst/>
          </a:prstGeom>
        </p:spPr>
        <p:txBody>
          <a:bodyPr/>
          <a:lstStyle>
            <a:lvl1pPr>
              <a:defRPr b="1" i="0" spc="0" baseline="0">
                <a:ln>
                  <a:noFill/>
                </a:ln>
                <a:solidFill>
                  <a:schemeClr val="bg1"/>
                </a:solidFill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STYLE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32CB07-EAEC-5B4F-A86E-7F459C01A01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728705919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tags" Target="../tags/tag2.xml" /><Relationship Id="rId18" Type="http://schemas.openxmlformats.org/officeDocument/2006/relationships/image" Target="../media/image3.svg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vmlDrawing" Target="../drawings/vmlDrawing1.vml" /><Relationship Id="rId17" Type="http://schemas.openxmlformats.org/officeDocument/2006/relationships/image" Target="../media/image2.png" /><Relationship Id="rId2" Type="http://schemas.openxmlformats.org/officeDocument/2006/relationships/slideLayout" Target="../slideLayouts/slideLayout2.xml" /><Relationship Id="rId16" Type="http://schemas.openxmlformats.org/officeDocument/2006/relationships/image" Target="../media/image1.emf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theme" Target="../theme/theme1.xml" /><Relationship Id="rId5" Type="http://schemas.openxmlformats.org/officeDocument/2006/relationships/slideLayout" Target="../slideLayouts/slideLayout5.xml" /><Relationship Id="rId15" Type="http://schemas.openxmlformats.org/officeDocument/2006/relationships/oleObject" Target="../embeddings/oleObject1.bin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tags" Target="../tags/tag3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 /><Relationship Id="rId13" Type="http://schemas.openxmlformats.org/officeDocument/2006/relationships/slideLayout" Target="../slideLayouts/slideLayout23.xml" /><Relationship Id="rId18" Type="http://schemas.openxmlformats.org/officeDocument/2006/relationships/slideLayout" Target="../slideLayouts/slideLayout28.xml" /><Relationship Id="rId26" Type="http://schemas.openxmlformats.org/officeDocument/2006/relationships/vmlDrawing" Target="../drawings/vmlDrawing2.vml" /><Relationship Id="rId3" Type="http://schemas.openxmlformats.org/officeDocument/2006/relationships/slideLayout" Target="../slideLayouts/slideLayout13.xml" /><Relationship Id="rId21" Type="http://schemas.openxmlformats.org/officeDocument/2006/relationships/slideLayout" Target="../slideLayouts/slideLayout31.xml" /><Relationship Id="rId7" Type="http://schemas.openxmlformats.org/officeDocument/2006/relationships/slideLayout" Target="../slideLayouts/slideLayout17.xml" /><Relationship Id="rId12" Type="http://schemas.openxmlformats.org/officeDocument/2006/relationships/slideLayout" Target="../slideLayouts/slideLayout22.xml" /><Relationship Id="rId17" Type="http://schemas.openxmlformats.org/officeDocument/2006/relationships/slideLayout" Target="../slideLayouts/slideLayout27.xml" /><Relationship Id="rId25" Type="http://schemas.openxmlformats.org/officeDocument/2006/relationships/theme" Target="../theme/theme2.xml" /><Relationship Id="rId2" Type="http://schemas.openxmlformats.org/officeDocument/2006/relationships/slideLayout" Target="../slideLayouts/slideLayout12.xml" /><Relationship Id="rId16" Type="http://schemas.openxmlformats.org/officeDocument/2006/relationships/slideLayout" Target="../slideLayouts/slideLayout26.xml" /><Relationship Id="rId20" Type="http://schemas.openxmlformats.org/officeDocument/2006/relationships/slideLayout" Target="../slideLayouts/slideLayout30.xml" /><Relationship Id="rId29" Type="http://schemas.openxmlformats.org/officeDocument/2006/relationships/oleObject" Target="../embeddings/oleObject2.bin" /><Relationship Id="rId1" Type="http://schemas.openxmlformats.org/officeDocument/2006/relationships/slideLayout" Target="../slideLayouts/slideLayout11.xml" /><Relationship Id="rId6" Type="http://schemas.openxmlformats.org/officeDocument/2006/relationships/slideLayout" Target="../slideLayouts/slideLayout16.xml" /><Relationship Id="rId11" Type="http://schemas.openxmlformats.org/officeDocument/2006/relationships/slideLayout" Target="../slideLayouts/slideLayout21.xml" /><Relationship Id="rId24" Type="http://schemas.openxmlformats.org/officeDocument/2006/relationships/slideLayout" Target="../slideLayouts/slideLayout34.xml" /><Relationship Id="rId5" Type="http://schemas.openxmlformats.org/officeDocument/2006/relationships/slideLayout" Target="../slideLayouts/slideLayout15.xml" /><Relationship Id="rId15" Type="http://schemas.openxmlformats.org/officeDocument/2006/relationships/slideLayout" Target="../slideLayouts/slideLayout25.xml" /><Relationship Id="rId23" Type="http://schemas.openxmlformats.org/officeDocument/2006/relationships/slideLayout" Target="../slideLayouts/slideLayout33.xml" /><Relationship Id="rId28" Type="http://schemas.openxmlformats.org/officeDocument/2006/relationships/tags" Target="../tags/tag5.xml" /><Relationship Id="rId10" Type="http://schemas.openxmlformats.org/officeDocument/2006/relationships/slideLayout" Target="../slideLayouts/slideLayout20.xml" /><Relationship Id="rId19" Type="http://schemas.openxmlformats.org/officeDocument/2006/relationships/slideLayout" Target="../slideLayouts/slideLayout29.xml" /><Relationship Id="rId4" Type="http://schemas.openxmlformats.org/officeDocument/2006/relationships/slideLayout" Target="../slideLayouts/slideLayout14.xml" /><Relationship Id="rId9" Type="http://schemas.openxmlformats.org/officeDocument/2006/relationships/slideLayout" Target="../slideLayouts/slideLayout19.xml" /><Relationship Id="rId14" Type="http://schemas.openxmlformats.org/officeDocument/2006/relationships/slideLayout" Target="../slideLayouts/slideLayout24.xml" /><Relationship Id="rId22" Type="http://schemas.openxmlformats.org/officeDocument/2006/relationships/slideLayout" Target="../slideLayouts/slideLayout32.xml" /><Relationship Id="rId27" Type="http://schemas.openxmlformats.org/officeDocument/2006/relationships/tags" Target="../tags/tag4.xml" /><Relationship Id="rId30" Type="http://schemas.openxmlformats.org/officeDocument/2006/relationships/image" Target="../media/image1.emf" 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 /><Relationship Id="rId13" Type="http://schemas.openxmlformats.org/officeDocument/2006/relationships/slideLayout" Target="../slideLayouts/slideLayout47.xml" /><Relationship Id="rId18" Type="http://schemas.openxmlformats.org/officeDocument/2006/relationships/image" Target="../media/image15.emf" /><Relationship Id="rId3" Type="http://schemas.openxmlformats.org/officeDocument/2006/relationships/slideLayout" Target="../slideLayouts/slideLayout37.xml" /><Relationship Id="rId7" Type="http://schemas.openxmlformats.org/officeDocument/2006/relationships/slideLayout" Target="../slideLayouts/slideLayout41.xml" /><Relationship Id="rId12" Type="http://schemas.openxmlformats.org/officeDocument/2006/relationships/slideLayout" Target="../slideLayouts/slideLayout46.xml" /><Relationship Id="rId17" Type="http://schemas.openxmlformats.org/officeDocument/2006/relationships/oleObject" Target="../embeddings/oleObject3.bin" /><Relationship Id="rId2" Type="http://schemas.openxmlformats.org/officeDocument/2006/relationships/slideLayout" Target="../slideLayouts/slideLayout36.xml" /><Relationship Id="rId16" Type="http://schemas.openxmlformats.org/officeDocument/2006/relationships/tags" Target="../tags/tag6.xml" /><Relationship Id="rId1" Type="http://schemas.openxmlformats.org/officeDocument/2006/relationships/slideLayout" Target="../slideLayouts/slideLayout35.xml" /><Relationship Id="rId6" Type="http://schemas.openxmlformats.org/officeDocument/2006/relationships/slideLayout" Target="../slideLayouts/slideLayout40.xml" /><Relationship Id="rId11" Type="http://schemas.openxmlformats.org/officeDocument/2006/relationships/slideLayout" Target="../slideLayouts/slideLayout45.xml" /><Relationship Id="rId5" Type="http://schemas.openxmlformats.org/officeDocument/2006/relationships/slideLayout" Target="../slideLayouts/slideLayout39.xml" /><Relationship Id="rId15" Type="http://schemas.openxmlformats.org/officeDocument/2006/relationships/vmlDrawing" Target="../drawings/vmlDrawing3.vml" /><Relationship Id="rId10" Type="http://schemas.openxmlformats.org/officeDocument/2006/relationships/slideLayout" Target="../slideLayouts/slideLayout44.xml" /><Relationship Id="rId19" Type="http://schemas.openxmlformats.org/officeDocument/2006/relationships/image" Target="../media/image16.png" /><Relationship Id="rId4" Type="http://schemas.openxmlformats.org/officeDocument/2006/relationships/slideLayout" Target="../slideLayouts/slideLayout38.xml" /><Relationship Id="rId9" Type="http://schemas.openxmlformats.org/officeDocument/2006/relationships/slideLayout" Target="../slideLayouts/slideLayout43.xml" /><Relationship Id="rId14" Type="http://schemas.openxmlformats.org/officeDocument/2006/relationships/theme" Target="../theme/theme3.xml" 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 /><Relationship Id="rId13" Type="http://schemas.openxmlformats.org/officeDocument/2006/relationships/tags" Target="../tags/tag19.xml" /><Relationship Id="rId3" Type="http://schemas.openxmlformats.org/officeDocument/2006/relationships/slideLayout" Target="../slideLayouts/slideLayout50.xml" /><Relationship Id="rId7" Type="http://schemas.openxmlformats.org/officeDocument/2006/relationships/slideLayout" Target="../slideLayouts/slideLayout54.xml" /><Relationship Id="rId12" Type="http://schemas.openxmlformats.org/officeDocument/2006/relationships/tags" Target="../tags/tag18.xml" /><Relationship Id="rId17" Type="http://schemas.openxmlformats.org/officeDocument/2006/relationships/image" Target="../media/image3.svg" /><Relationship Id="rId2" Type="http://schemas.openxmlformats.org/officeDocument/2006/relationships/slideLayout" Target="../slideLayouts/slideLayout49.xml" /><Relationship Id="rId16" Type="http://schemas.openxmlformats.org/officeDocument/2006/relationships/image" Target="../media/image2.png" /><Relationship Id="rId1" Type="http://schemas.openxmlformats.org/officeDocument/2006/relationships/slideLayout" Target="../slideLayouts/slideLayout48.xml" /><Relationship Id="rId6" Type="http://schemas.openxmlformats.org/officeDocument/2006/relationships/slideLayout" Target="../slideLayouts/slideLayout53.xml" /><Relationship Id="rId11" Type="http://schemas.openxmlformats.org/officeDocument/2006/relationships/vmlDrawing" Target="../drawings/vmlDrawing14.vml" /><Relationship Id="rId5" Type="http://schemas.openxmlformats.org/officeDocument/2006/relationships/slideLayout" Target="../slideLayouts/slideLayout52.xml" /><Relationship Id="rId15" Type="http://schemas.openxmlformats.org/officeDocument/2006/relationships/image" Target="../media/image1.emf" /><Relationship Id="rId10" Type="http://schemas.openxmlformats.org/officeDocument/2006/relationships/theme" Target="../theme/theme4.xml" /><Relationship Id="rId4" Type="http://schemas.openxmlformats.org/officeDocument/2006/relationships/slideLayout" Target="../slideLayouts/slideLayout51.xml" /><Relationship Id="rId9" Type="http://schemas.openxmlformats.org/officeDocument/2006/relationships/slideLayout" Target="../slideLayouts/slideLayout56.xml" /><Relationship Id="rId14" Type="http://schemas.openxmlformats.org/officeDocument/2006/relationships/oleObject" Target="../embeddings/oleObject14.bin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58659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15" imgW="270" imgH="270" progId="TCLayout.ActiveDocument.1">
                  <p:embed/>
                </p:oleObj>
              </mc:Choice>
              <mc:Fallback>
                <p:oleObj name="Слайд think-cell" r:id="rId1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50" charset="0"/>
              <a:ea typeface="MTS Sans" panose="02000000000000000000" pitchFamily="50" charset="0"/>
              <a:cs typeface="Arial" panose="020B0604020202020204" pitchFamily="34" charset="0"/>
              <a:sym typeface="MTS Sans" panose="02000000000000000000" pitchFamily="50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3F342EA3-ECC8-6944-8742-327940920E2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4" name="Title Text"/>
          <p:cNvSpPr>
            <a:spLocks noGrp="1"/>
          </p:cNvSpPr>
          <p:nvPr>
            <p:ph type="title"/>
          </p:nvPr>
        </p:nvSpPr>
        <p:spPr>
          <a:xfrm>
            <a:off x="749300" y="764382"/>
            <a:ext cx="7632700" cy="45727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b">
            <a:noAutofit/>
          </a:bodyPr>
          <a:lstStyle/>
          <a:p>
            <a:r>
              <a:rPr lang="en-US" dirty="0"/>
              <a:t>LOREM IPSUM DOLOR SI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B5588F-C887-704A-A845-46DD2AA76E3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808174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97" r:id="rId10"/>
  </p:sldLayoutIdLst>
  <p:transition spd="slow">
    <p:push dir="u"/>
  </p:transition>
  <p:hf hdr="0" ftr="0" dt="0"/>
  <p:txStyles>
    <p:titleStyle>
      <a:lvl1pPr marL="0" marR="0" indent="0" algn="l" defTabSz="412750" rtl="0" latinLnBrk="0">
        <a:lnSpc>
          <a:spcPts val="9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0" baseline="0">
          <a:ln>
            <a:noFill/>
          </a:ln>
          <a:solidFill>
            <a:schemeClr val="tx1"/>
          </a:solidFill>
          <a:uFillTx/>
          <a:latin typeface="MTS Sans" panose="02000000000000000000" pitchFamily="2" charset="0"/>
          <a:ea typeface="MTS Sans" panose="02000000000000000000" pitchFamily="2" charset="0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5pPr>
      <a:lvl6pPr marL="0" marR="0" indent="1778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3556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5334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7112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328">
          <p15:clr>
            <a:srgbClr val="A4A3A4"/>
          </p15:clr>
        </p15:guide>
        <p15:guide id="4" pos="4793">
          <p15:clr>
            <a:srgbClr val="A4A3A4"/>
          </p15:clr>
        </p15:guide>
        <p15:guide id="6" pos="5768">
          <p15:clr>
            <a:srgbClr val="A4A3A4"/>
          </p15:clr>
        </p15:guide>
        <p15:guide id="7" pos="6244">
          <p15:clr>
            <a:srgbClr val="A4A3A4"/>
          </p15:clr>
        </p15:guide>
        <p15:guide id="8" pos="6721">
          <p15:clr>
            <a:srgbClr val="A4A3A4"/>
          </p15:clr>
        </p15:guide>
        <p15:guide id="9" pos="7208">
          <p15:clr>
            <a:srgbClr val="F26B43"/>
          </p15:clr>
        </p15:guide>
        <p15:guide id="10" pos="5280">
          <p15:clr>
            <a:srgbClr val="A4A3A4"/>
          </p15:clr>
        </p15:guide>
        <p15:guide id="11" pos="3364">
          <p15:clr>
            <a:srgbClr val="A4A3A4"/>
          </p15:clr>
        </p15:guide>
        <p15:guide id="12" pos="2876">
          <p15:clr>
            <a:srgbClr val="A4A3A4"/>
          </p15:clr>
        </p15:guide>
        <p15:guide id="13" pos="2389">
          <p15:clr>
            <a:srgbClr val="A4A3A4"/>
          </p15:clr>
        </p15:guide>
        <p15:guide id="14" pos="1912">
          <p15:clr>
            <a:srgbClr val="A4A3A4"/>
          </p15:clr>
        </p15:guide>
        <p15:guide id="15" pos="1436">
          <p15:clr>
            <a:srgbClr val="A4A3A4"/>
          </p15:clr>
        </p15:guide>
        <p15:guide id="16" pos="949">
          <p15:clr>
            <a:srgbClr val="A4A3A4"/>
          </p15:clr>
        </p15:guide>
        <p15:guide id="18" pos="472">
          <p15:clr>
            <a:srgbClr val="F26B43"/>
          </p15:clr>
        </p15:guide>
        <p15:guide id="19">
          <p15:clr>
            <a:srgbClr val="F26B43"/>
          </p15:clr>
        </p15:guide>
        <p15:guide id="20" orient="horz" pos="1922">
          <p15:clr>
            <a:srgbClr val="A4A3A4"/>
          </p15:clr>
        </p15:guide>
        <p15:guide id="21" orient="horz" pos="1435">
          <p15:clr>
            <a:srgbClr val="A4A3A4"/>
          </p15:clr>
        </p15:guide>
        <p15:guide id="22" orient="horz" pos="958">
          <p15:clr>
            <a:srgbClr val="A4A3A4"/>
          </p15:clr>
        </p15:guide>
        <p15:guide id="24" orient="horz" pos="482">
          <p15:clr>
            <a:srgbClr val="F26B43"/>
          </p15:clr>
        </p15:guide>
        <p15:guide id="25" orient="horz" pos="2398">
          <p15:clr>
            <a:srgbClr val="A4A3A4"/>
          </p15:clr>
        </p15:guide>
        <p15:guide id="26" orient="horz" pos="2875">
          <p15:clr>
            <a:srgbClr val="A4A3A4"/>
          </p15:clr>
        </p15:guide>
        <p15:guide id="27" orient="horz" pos="3362">
          <p15:clr>
            <a:srgbClr val="A4A3A4"/>
          </p15:clr>
        </p15:guide>
        <p15:guide id="28" orient="horz" pos="3839">
          <p15:clr>
            <a:srgbClr val="F26B43"/>
          </p15:clr>
        </p15:guide>
        <p15:guide id="29" orient="horz" pos="4320">
          <p15:clr>
            <a:srgbClr val="F26B43"/>
          </p15:clr>
        </p15:guide>
        <p15:guide id="30" pos="76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873872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Слайд think-cell" r:id="rId29" imgW="270" imgH="270" progId="TCLayout.ActiveDocument.1">
                  <p:embed/>
                </p:oleObj>
              </mc:Choice>
              <mc:Fallback>
                <p:oleObj name="Слайд think-cell" r:id="rId2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50" charset="0"/>
              <a:ea typeface="MTS Sans" panose="02000000000000000000" pitchFamily="50" charset="0"/>
              <a:cs typeface="Arial" panose="020B0604020202020204" pitchFamily="34" charset="0"/>
              <a:sym typeface="MTS Sans" panose="02000000000000000000" pitchFamily="50" charset="0"/>
            </a:endParaRPr>
          </a:p>
        </p:txBody>
      </p:sp>
      <p:sp>
        <p:nvSpPr>
          <p:cNvPr id="4" name="Title Text"/>
          <p:cNvSpPr>
            <a:spLocks noGrp="1"/>
          </p:cNvSpPr>
          <p:nvPr>
            <p:ph type="title"/>
          </p:nvPr>
        </p:nvSpPr>
        <p:spPr>
          <a:xfrm>
            <a:off x="749301" y="764382"/>
            <a:ext cx="5435384" cy="30840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b">
            <a:noAutofit/>
          </a:bodyPr>
          <a:lstStyle/>
          <a:p>
            <a:r>
              <a:rPr lang="en-US" dirty="0"/>
              <a:t>TITLE TEX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7AC0FA-EA99-0045-8DC2-C635270F1E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9300" y="4563269"/>
            <a:ext cx="9891569" cy="15303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66B4078-737F-6C4A-8996-02AA3FD619F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894684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</p:sldLayoutIdLst>
  <p:transition spd="slow">
    <p:push dir="u"/>
  </p:transition>
  <p:hf hdr="0" ftr="0" dt="0"/>
  <p:txStyles>
    <p:titleStyle>
      <a:lvl1pPr marL="0" marR="0" indent="0" algn="l" defTabSz="412750" rtl="0" latinLnBrk="0">
        <a:lnSpc>
          <a:spcPts val="9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0" baseline="0">
          <a:ln>
            <a:noFill/>
          </a:ln>
          <a:solidFill>
            <a:schemeClr val="tx1"/>
          </a:solidFill>
          <a:uFillTx/>
          <a:latin typeface="MTS Sans" panose="02000000000000000000" pitchFamily="2" charset="0"/>
          <a:ea typeface="MTS Sans" panose="02000000000000000000" pitchFamily="2" charset="0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1" i="0" u="none" strike="noStrike" cap="none" spc="0" baseline="0">
          <a:ln>
            <a:noFill/>
          </a:ln>
          <a:solidFill>
            <a:schemeClr val="tx1"/>
          </a:solidFill>
          <a:uFillTx/>
          <a:latin typeface="MTS Sans" panose="02000000000000000000" pitchFamily="2" charset="0"/>
          <a:ea typeface="MTS Sans" panose="02000000000000000000" pitchFamily="2" charset="0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5pPr>
      <a:lvl6pPr marL="0" marR="0" indent="1778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3556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5334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7112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328">
          <p15:clr>
            <a:srgbClr val="A4A3A4"/>
          </p15:clr>
        </p15:guide>
        <p15:guide id="4" pos="4793">
          <p15:clr>
            <a:srgbClr val="A4A3A4"/>
          </p15:clr>
        </p15:guide>
        <p15:guide id="6" pos="5768">
          <p15:clr>
            <a:srgbClr val="A4A3A4"/>
          </p15:clr>
        </p15:guide>
        <p15:guide id="7" pos="6244">
          <p15:clr>
            <a:srgbClr val="A4A3A4"/>
          </p15:clr>
        </p15:guide>
        <p15:guide id="8" pos="6721">
          <p15:clr>
            <a:srgbClr val="A4A3A4"/>
          </p15:clr>
        </p15:guide>
        <p15:guide id="9" pos="7208">
          <p15:clr>
            <a:srgbClr val="F26B43"/>
          </p15:clr>
        </p15:guide>
        <p15:guide id="10" pos="5280">
          <p15:clr>
            <a:srgbClr val="A4A3A4"/>
          </p15:clr>
        </p15:guide>
        <p15:guide id="11" pos="3364">
          <p15:clr>
            <a:srgbClr val="A4A3A4"/>
          </p15:clr>
        </p15:guide>
        <p15:guide id="12" pos="2876">
          <p15:clr>
            <a:srgbClr val="A4A3A4"/>
          </p15:clr>
        </p15:guide>
        <p15:guide id="13" pos="2411">
          <p15:clr>
            <a:srgbClr val="A4A3A4"/>
          </p15:clr>
        </p15:guide>
        <p15:guide id="14" pos="1912">
          <p15:clr>
            <a:srgbClr val="A4A3A4"/>
          </p15:clr>
        </p15:guide>
        <p15:guide id="15" pos="1436">
          <p15:clr>
            <a:srgbClr val="A4A3A4"/>
          </p15:clr>
        </p15:guide>
        <p15:guide id="16" pos="949">
          <p15:clr>
            <a:srgbClr val="A4A3A4"/>
          </p15:clr>
        </p15:guide>
        <p15:guide id="18" pos="472">
          <p15:clr>
            <a:srgbClr val="F26B43"/>
          </p15:clr>
        </p15:guide>
        <p15:guide id="19">
          <p15:clr>
            <a:srgbClr val="F26B43"/>
          </p15:clr>
        </p15:guide>
        <p15:guide id="20" orient="horz" pos="1922">
          <p15:clr>
            <a:srgbClr val="A4A3A4"/>
          </p15:clr>
        </p15:guide>
        <p15:guide id="21" orient="horz" pos="1435">
          <p15:clr>
            <a:srgbClr val="A4A3A4"/>
          </p15:clr>
        </p15:guide>
        <p15:guide id="22" orient="horz" pos="958">
          <p15:clr>
            <a:srgbClr val="A4A3A4"/>
          </p15:clr>
        </p15:guide>
        <p15:guide id="23" orient="horz" pos="482">
          <p15:clr>
            <a:srgbClr val="F26B43"/>
          </p15:clr>
        </p15:guide>
        <p15:guide id="24" orient="horz">
          <p15:clr>
            <a:srgbClr val="F26B43"/>
          </p15:clr>
        </p15:guide>
        <p15:guide id="25" orient="horz" pos="2398">
          <p15:clr>
            <a:srgbClr val="A4A3A4"/>
          </p15:clr>
        </p15:guide>
        <p15:guide id="26" orient="horz" pos="2875">
          <p15:clr>
            <a:srgbClr val="A4A3A4"/>
          </p15:clr>
        </p15:guide>
        <p15:guide id="27" orient="horz" pos="3362">
          <p15:clr>
            <a:srgbClr val="A4A3A4"/>
          </p15:clr>
        </p15:guide>
        <p15:guide id="28" orient="horz" pos="3839">
          <p15:clr>
            <a:srgbClr val="F26B43"/>
          </p15:clr>
        </p15:guide>
        <p15:guide id="29" orient="horz" pos="4320">
          <p15:clr>
            <a:srgbClr val="F26B43"/>
          </p15:clr>
        </p15:guide>
        <p15:guide id="30" pos="76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18A977F6-7A75-44F0-98CB-32D187D3CF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Слайд think-cell" r:id="rId17" imgW="366" imgH="367" progId="TCLayout.ActiveDocument.1">
                  <p:embed/>
                </p:oleObj>
              </mc:Choice>
              <mc:Fallback>
                <p:oleObj name="Слайд think-cell" r:id="rId17" imgW="366" imgH="367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18A977F6-7A75-44F0-98CB-32D187D3CF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297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74">
          <p15:clr>
            <a:srgbClr val="F26B43"/>
          </p15:clr>
        </p15:guide>
        <p15:guide id="2" pos="7219">
          <p15:clr>
            <a:srgbClr val="F26B43"/>
          </p15:clr>
        </p15:guide>
        <p15:guide id="3" orient="horz" pos="36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0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50" charset="0"/>
              <a:ea typeface="MTS Sans" panose="02000000000000000000" pitchFamily="50" charset="0"/>
              <a:cs typeface="Arial" panose="020B0604020202020204" pitchFamily="34" charset="0"/>
              <a:sym typeface="MTS Sans" panose="02000000000000000000" pitchFamily="50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3F342EA3-ECC8-6944-8742-327940920E2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4" name="Title Text"/>
          <p:cNvSpPr>
            <a:spLocks noGrp="1"/>
          </p:cNvSpPr>
          <p:nvPr>
            <p:ph type="title"/>
          </p:nvPr>
        </p:nvSpPr>
        <p:spPr>
          <a:xfrm>
            <a:off x="749300" y="764382"/>
            <a:ext cx="7632700" cy="45727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b">
            <a:noAutofit/>
          </a:bodyPr>
          <a:lstStyle/>
          <a:p>
            <a:r>
              <a:rPr lang="en-US" dirty="0"/>
              <a:t>LOREM IPSUM DOLOR SI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B5588F-C887-704A-A845-46DD2AA76E3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21627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</p:sldLayoutIdLst>
  <p:transition spd="slow">
    <p:push dir="u"/>
  </p:transition>
  <p:hf hdr="0" ftr="0" dt="0"/>
  <p:txStyles>
    <p:titleStyle>
      <a:lvl1pPr marL="0" marR="0" indent="0" algn="l" defTabSz="412750" rtl="0" latinLnBrk="0">
        <a:lnSpc>
          <a:spcPts val="9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0" baseline="0">
          <a:ln>
            <a:noFill/>
          </a:ln>
          <a:solidFill>
            <a:schemeClr val="tx1"/>
          </a:solidFill>
          <a:uFillTx/>
          <a:latin typeface="MTS Sans" panose="02000000000000000000" pitchFamily="2" charset="0"/>
          <a:ea typeface="MTS Sans" panose="02000000000000000000" pitchFamily="2" charset="0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5pPr>
      <a:lvl6pPr marL="0" marR="0" indent="1778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3556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5334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7112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328">
          <p15:clr>
            <a:srgbClr val="A4A3A4"/>
          </p15:clr>
        </p15:guide>
        <p15:guide id="4" pos="4793">
          <p15:clr>
            <a:srgbClr val="A4A3A4"/>
          </p15:clr>
        </p15:guide>
        <p15:guide id="6" pos="5768">
          <p15:clr>
            <a:srgbClr val="A4A3A4"/>
          </p15:clr>
        </p15:guide>
        <p15:guide id="7" pos="6244">
          <p15:clr>
            <a:srgbClr val="A4A3A4"/>
          </p15:clr>
        </p15:guide>
        <p15:guide id="8" pos="6721">
          <p15:clr>
            <a:srgbClr val="A4A3A4"/>
          </p15:clr>
        </p15:guide>
        <p15:guide id="9" pos="7208">
          <p15:clr>
            <a:srgbClr val="F26B43"/>
          </p15:clr>
        </p15:guide>
        <p15:guide id="10" pos="5280">
          <p15:clr>
            <a:srgbClr val="A4A3A4"/>
          </p15:clr>
        </p15:guide>
        <p15:guide id="11" pos="3364">
          <p15:clr>
            <a:srgbClr val="A4A3A4"/>
          </p15:clr>
        </p15:guide>
        <p15:guide id="12" pos="2876">
          <p15:clr>
            <a:srgbClr val="A4A3A4"/>
          </p15:clr>
        </p15:guide>
        <p15:guide id="13" pos="2389">
          <p15:clr>
            <a:srgbClr val="A4A3A4"/>
          </p15:clr>
        </p15:guide>
        <p15:guide id="14" pos="1912">
          <p15:clr>
            <a:srgbClr val="A4A3A4"/>
          </p15:clr>
        </p15:guide>
        <p15:guide id="15" pos="1436">
          <p15:clr>
            <a:srgbClr val="A4A3A4"/>
          </p15:clr>
        </p15:guide>
        <p15:guide id="16" pos="949">
          <p15:clr>
            <a:srgbClr val="A4A3A4"/>
          </p15:clr>
        </p15:guide>
        <p15:guide id="18" pos="472">
          <p15:clr>
            <a:srgbClr val="F26B43"/>
          </p15:clr>
        </p15:guide>
        <p15:guide id="19">
          <p15:clr>
            <a:srgbClr val="F26B43"/>
          </p15:clr>
        </p15:guide>
        <p15:guide id="20" orient="horz" pos="1922">
          <p15:clr>
            <a:srgbClr val="A4A3A4"/>
          </p15:clr>
        </p15:guide>
        <p15:guide id="21" orient="horz" pos="1435">
          <p15:clr>
            <a:srgbClr val="A4A3A4"/>
          </p15:clr>
        </p15:guide>
        <p15:guide id="22" orient="horz" pos="958">
          <p15:clr>
            <a:srgbClr val="A4A3A4"/>
          </p15:clr>
        </p15:guide>
        <p15:guide id="24" orient="horz" pos="482">
          <p15:clr>
            <a:srgbClr val="F26B43"/>
          </p15:clr>
        </p15:guide>
        <p15:guide id="25" orient="horz" pos="2398">
          <p15:clr>
            <a:srgbClr val="A4A3A4"/>
          </p15:clr>
        </p15:guide>
        <p15:guide id="26" orient="horz" pos="2875">
          <p15:clr>
            <a:srgbClr val="A4A3A4"/>
          </p15:clr>
        </p15:guide>
        <p15:guide id="27" orient="horz" pos="3362">
          <p15:clr>
            <a:srgbClr val="A4A3A4"/>
          </p15:clr>
        </p15:guide>
        <p15:guide id="28" orient="horz" pos="3839">
          <p15:clr>
            <a:srgbClr val="F26B43"/>
          </p15:clr>
        </p15:guide>
        <p15:guide id="29" orient="horz" pos="4320">
          <p15:clr>
            <a:srgbClr val="F26B43"/>
          </p15:clr>
        </p15:guide>
        <p15:guide id="30" pos="76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 /><Relationship Id="rId3" Type="http://schemas.openxmlformats.org/officeDocument/2006/relationships/slideLayout" Target="../slideLayouts/slideLayout35.xml" /><Relationship Id="rId7" Type="http://schemas.openxmlformats.org/officeDocument/2006/relationships/image" Target="../media/image15.emf" /><Relationship Id="rId2" Type="http://schemas.openxmlformats.org/officeDocument/2006/relationships/tags" Target="../tags/tag20.xml" /><Relationship Id="rId1" Type="http://schemas.openxmlformats.org/officeDocument/2006/relationships/vmlDrawing" Target="../drawings/vmlDrawing15.vml" /><Relationship Id="rId6" Type="http://schemas.openxmlformats.org/officeDocument/2006/relationships/oleObject" Target="../embeddings/oleObject15.bin" /><Relationship Id="rId5" Type="http://schemas.openxmlformats.org/officeDocument/2006/relationships/image" Target="../media/image23.jpg" /><Relationship Id="rId10" Type="http://schemas.openxmlformats.org/officeDocument/2006/relationships/image" Target="../media/image3.svg" /><Relationship Id="rId4" Type="http://schemas.openxmlformats.org/officeDocument/2006/relationships/notesSlide" Target="../notesSlides/notesSlide1.xml" /><Relationship Id="rId9" Type="http://schemas.openxmlformats.org/officeDocument/2006/relationships/image" Target="../media/image2.png" 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 /><Relationship Id="rId3" Type="http://schemas.openxmlformats.org/officeDocument/2006/relationships/tags" Target="../tags/tag22.xml" /><Relationship Id="rId7" Type="http://schemas.openxmlformats.org/officeDocument/2006/relationships/image" Target="../media/image25.emf" /><Relationship Id="rId2" Type="http://schemas.openxmlformats.org/officeDocument/2006/relationships/tags" Target="../tags/tag21.xml" /><Relationship Id="rId1" Type="http://schemas.openxmlformats.org/officeDocument/2006/relationships/vmlDrawing" Target="../drawings/vmlDrawing16.vml" /><Relationship Id="rId6" Type="http://schemas.openxmlformats.org/officeDocument/2006/relationships/oleObject" Target="../embeddings/oleObject16.bin" /><Relationship Id="rId5" Type="http://schemas.openxmlformats.org/officeDocument/2006/relationships/notesSlide" Target="../notesSlides/notesSlide2.xml" /><Relationship Id="rId10" Type="http://schemas.openxmlformats.org/officeDocument/2006/relationships/image" Target="../media/image28.png" /><Relationship Id="rId4" Type="http://schemas.openxmlformats.org/officeDocument/2006/relationships/slideLayout" Target="../slideLayouts/slideLayout10.xml" /><Relationship Id="rId9" Type="http://schemas.openxmlformats.org/officeDocument/2006/relationships/image" Target="../media/image27.png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 /><Relationship Id="rId7" Type="http://schemas.openxmlformats.org/officeDocument/2006/relationships/image" Target="../media/image25.emf" /><Relationship Id="rId2" Type="http://schemas.openxmlformats.org/officeDocument/2006/relationships/tags" Target="../tags/tag23.xml" /><Relationship Id="rId1" Type="http://schemas.openxmlformats.org/officeDocument/2006/relationships/vmlDrawing" Target="../drawings/vmlDrawing17.vml" /><Relationship Id="rId6" Type="http://schemas.openxmlformats.org/officeDocument/2006/relationships/oleObject" Target="../embeddings/oleObject17.bin" /><Relationship Id="rId5" Type="http://schemas.openxmlformats.org/officeDocument/2006/relationships/notesSlide" Target="../notesSlides/notesSlide3.xml" /><Relationship Id="rId4" Type="http://schemas.openxmlformats.org/officeDocument/2006/relationships/slideLayout" Target="../slideLayouts/slideLayout10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 /><Relationship Id="rId7" Type="http://schemas.openxmlformats.org/officeDocument/2006/relationships/image" Target="../media/image25.emf" /><Relationship Id="rId2" Type="http://schemas.openxmlformats.org/officeDocument/2006/relationships/tags" Target="../tags/tag25.xml" /><Relationship Id="rId1" Type="http://schemas.openxmlformats.org/officeDocument/2006/relationships/vmlDrawing" Target="../drawings/vmlDrawing18.vml" /><Relationship Id="rId6" Type="http://schemas.openxmlformats.org/officeDocument/2006/relationships/oleObject" Target="../embeddings/oleObject18.bin" /><Relationship Id="rId5" Type="http://schemas.openxmlformats.org/officeDocument/2006/relationships/notesSlide" Target="../notesSlides/notesSlide4.xml" /><Relationship Id="rId4" Type="http://schemas.openxmlformats.org/officeDocument/2006/relationships/slideLayout" Target="../slideLayouts/slideLayout10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 /><Relationship Id="rId2" Type="http://schemas.openxmlformats.org/officeDocument/2006/relationships/tags" Target="../tags/tag27.xml" /><Relationship Id="rId1" Type="http://schemas.openxmlformats.org/officeDocument/2006/relationships/vmlDrawing" Target="../drawings/vmlDrawing19.vml" /><Relationship Id="rId6" Type="http://schemas.openxmlformats.org/officeDocument/2006/relationships/image" Target="../media/image15.emf" /><Relationship Id="rId5" Type="http://schemas.openxmlformats.org/officeDocument/2006/relationships/oleObject" Target="../embeddings/oleObject19.bin" /><Relationship Id="rId4" Type="http://schemas.openxmlformats.org/officeDocument/2006/relationships/notesSlide" Target="../notesSlides/notesSlide5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5">
            <a:alphaModFix amt="80000"/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4629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Слайд think-cell" r:id="rId6" imgW="366" imgH="367" progId="TCLayout.ActiveDocument.1">
                  <p:embed/>
                </p:oleObj>
              </mc:Choice>
              <mc:Fallback>
                <p:oleObj name="Слайд think-cell" r:id="rId6" imgW="366" imgH="367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77" y="584200"/>
            <a:ext cx="4212468" cy="622848"/>
          </a:xfrm>
          <a:prstGeom prst="rect">
            <a:avLst/>
          </a:prstGeom>
        </p:spPr>
      </p:pic>
      <p:pic>
        <p:nvPicPr>
          <p:cNvPr id="6" name="Graphic 23">
            <a:extLst>
              <a:ext uri="{FF2B5EF4-FFF2-40B4-BE49-F238E27FC236}">
                <a16:creationId xmlns:a16="http://schemas.microsoft.com/office/drawing/2014/main" id="{E22F5FCD-102C-A54E-8B2F-36359BE396E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0816" y="5335090"/>
            <a:ext cx="11490490" cy="864967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759301" y="3568567"/>
            <a:ext cx="8905809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ts val="5400"/>
              </a:lnSpc>
              <a:defRPr sz="6000" b="1"/>
            </a:lvl1pPr>
          </a:lstStyle>
          <a:p>
            <a:pPr lvl="0" defTabSz="457200">
              <a:lnSpc>
                <a:spcPct val="100000"/>
              </a:lnSpc>
              <a:defRPr/>
            </a:pPr>
            <a:r>
              <a:rPr lang="ru-RU" sz="5500" dirty="0">
                <a:solidFill>
                  <a:schemeClr val="bg1"/>
                </a:solidFill>
                <a:latin typeface="MTS Sans UltraWide" panose="02000000000000000000" pitchFamily="50" charset="0"/>
                <a:ea typeface="MTS Sans UltraWide" panose="02000000000000000000" pitchFamily="50" charset="0"/>
              </a:rPr>
              <a:t>НОВЫЕ ВОЗМОЖНОСТИ ДЛЯ БИЗНЕСА</a:t>
            </a:r>
            <a:endParaRPr kumimoji="0" lang="ru-RU" sz="5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MTS Sans UltraWide" panose="02000000000000000000" pitchFamily="50" charset="0"/>
              <a:ea typeface="MTS Sans UltraWide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4364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892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algn="ctr" defTabSz="825500" hangingPunct="0"/>
            <a:endParaRPr kumimoji="0" lang="ru-RU" sz="1400" b="1" u="none" strike="noStrike" cap="none" spc="0" normalizeH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50" charset="0"/>
              <a:ea typeface="MTS Sans" panose="02000000000000000000" pitchFamily="50" charset="0"/>
              <a:cs typeface="Arial" panose="020B0604020202020204" pitchFamily="34" charset="0"/>
              <a:sym typeface="MTS Sans" panose="02000000000000000000" pitchFamily="50" charset="0"/>
            </a:endParaRPr>
          </a:p>
        </p:txBody>
      </p:sp>
      <p:sp>
        <p:nvSpPr>
          <p:cNvPr id="18" name="Rectangle 2"/>
          <p:cNvSpPr txBox="1">
            <a:spLocks noChangeArrowheads="1"/>
          </p:cNvSpPr>
          <p:nvPr/>
        </p:nvSpPr>
        <p:spPr>
          <a:xfrm>
            <a:off x="328971" y="238255"/>
            <a:ext cx="10781955" cy="526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728663">
              <a:lnSpc>
                <a:spcPct val="95000"/>
              </a:lnSpc>
              <a:defRPr sz="2400" cap="all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2pPr>
            <a:lvl3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3pPr>
            <a:lvl4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4pPr>
            <a:lvl5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5pPr>
            <a:lvl6pPr marL="4572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6pPr>
            <a:lvl7pPr marL="9144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7pPr>
            <a:lvl8pPr marL="13716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8pPr>
            <a:lvl9pPr marL="18288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9pPr>
          </a:lstStyle>
          <a:p>
            <a:pPr>
              <a:defRPr/>
            </a:pPr>
            <a:r>
              <a:rPr lang="ru-RU" sz="3600" cap="none" dirty="0">
                <a:solidFill>
                  <a:srgbClr val="ED0021"/>
                </a:solidFill>
                <a:latin typeface="MTS Sans UltraWide" panose="02000000000000000000" pitchFamily="50" charset="0"/>
                <a:ea typeface="MTS Sans UltraWide" panose="02000000000000000000" pitchFamily="50" charset="0"/>
              </a:rPr>
              <a:t>МТС </a:t>
            </a:r>
            <a:r>
              <a:rPr lang="ru-RU" sz="3600" dirty="0">
                <a:solidFill>
                  <a:schemeClr val="tx1"/>
                </a:solidFill>
                <a:latin typeface="MTS Sans UltraWide" panose="02000000000000000000" pitchFamily="50" charset="0"/>
                <a:ea typeface="MTS Sans UltraWide" panose="02000000000000000000" pitchFamily="50" charset="0"/>
                <a:sym typeface="Helvetica Neue Medium"/>
              </a:rPr>
              <a:t>Реализует гос. контракт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5514" y="1000519"/>
            <a:ext cx="8176407" cy="9182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spcAft>
                <a:spcPts val="600"/>
              </a:spcAft>
              <a:buClr>
                <a:srgbClr val="ED0021"/>
              </a:buClr>
            </a:pPr>
            <a:r>
              <a:rPr lang="ru-RU" sz="2400" dirty="0">
                <a:latin typeface="MTS Sans" panose="02000000000000000000" pitchFamily="50" charset="0"/>
                <a:ea typeface="MTS Sans" panose="02000000000000000000" pitchFamily="50" charset="0"/>
                <a:sym typeface="Helvetica Neue Medium"/>
              </a:rPr>
              <a:t>по подключению социально-значимых объектов </a:t>
            </a:r>
            <a:r>
              <a:rPr lang="ru-RU" sz="2400" b="1" dirty="0">
                <a:latin typeface="MTS Sans" panose="02000000000000000000" pitchFamily="50" charset="0"/>
                <a:ea typeface="MTS Sans" panose="02000000000000000000" pitchFamily="50" charset="0"/>
                <a:sym typeface="Helvetica Neue Medium"/>
              </a:rPr>
              <a:t>(СЗО) к сети Интернет</a:t>
            </a:r>
            <a:r>
              <a:rPr lang="ru-RU" sz="2400" dirty="0">
                <a:latin typeface="MTS Sans" panose="02000000000000000000" pitchFamily="50" charset="0"/>
                <a:ea typeface="MTS Sans" panose="02000000000000000000" pitchFamily="50" charset="0"/>
                <a:sym typeface="Helvetica Neue Medium"/>
              </a:rPr>
              <a:t> в Амурской области в 2019-2021 гг.</a:t>
            </a:r>
          </a:p>
        </p:txBody>
      </p:sp>
      <p:pic>
        <p:nvPicPr>
          <p:cNvPr id="14" name="Picture 78" descr="ÐÐ°ÑÑÐ¸Ð½ÐºÐ¸ Ð¿Ð¾ Ð·Ð°Ð¿ÑÐ¾ÑÑ &quot;Ð¿Ð¸ÐºÑÐ¾Ð³ÑÐ°Ð¼Ð¼Ð° ÑÐºÐ¾Ð»Ð°&quot;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126" y="3080662"/>
            <a:ext cx="561912" cy="561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077374" y="3148243"/>
            <a:ext cx="16067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25500" hangingPunct="0"/>
            <a:r>
              <a:rPr lang="ru-RU" sz="2400" b="1" dirty="0">
                <a:solidFill>
                  <a:srgbClr val="C00000"/>
                </a:solidFill>
                <a:latin typeface="MTS Sans UltraWide" panose="02000000000000000000" pitchFamily="50" charset="0"/>
                <a:ea typeface="MTS Sans UltraWide" panose="02000000000000000000" pitchFamily="50" charset="0"/>
                <a:sym typeface="Helvetica Neue Medium"/>
              </a:rPr>
              <a:t>175 </a:t>
            </a:r>
            <a:r>
              <a:rPr lang="ru-RU" sz="2400" dirty="0">
                <a:solidFill>
                  <a:srgbClr val="C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 Medium"/>
              </a:rPr>
              <a:t>школ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855090" y="3161562"/>
            <a:ext cx="19538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25500" hangingPunct="0"/>
            <a:r>
              <a:rPr lang="ru-RU" sz="2400" b="1" dirty="0">
                <a:solidFill>
                  <a:srgbClr val="C00000"/>
                </a:solidFill>
                <a:latin typeface="MTS Sans UltraWide" panose="02000000000000000000" pitchFamily="50" charset="0"/>
                <a:ea typeface="MTS Sans UltraWide" panose="02000000000000000000" pitchFamily="50" charset="0"/>
                <a:sym typeface="Helvetica Neue Medium"/>
              </a:rPr>
              <a:t>207 </a:t>
            </a:r>
            <a:r>
              <a:rPr lang="ru-RU" sz="2400" dirty="0" err="1">
                <a:solidFill>
                  <a:srgbClr val="C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 Medium"/>
              </a:rPr>
              <a:t>ФАПов</a:t>
            </a:r>
            <a:endParaRPr lang="ru-RU" sz="2400" dirty="0">
              <a:solidFill>
                <a:srgbClr val="C00000"/>
              </a:solidFill>
              <a:latin typeface="MTS Sans" panose="02000000000000000000" pitchFamily="50" charset="0"/>
              <a:ea typeface="MTS Sans" panose="02000000000000000000" pitchFamily="50" charset="0"/>
              <a:sym typeface="Helvetica Neue Medium"/>
            </a:endParaRPr>
          </a:p>
        </p:txBody>
      </p:sp>
      <p:pic>
        <p:nvPicPr>
          <p:cNvPr id="16" name="Picture 84" descr="ÐÐ°ÑÑÐ¸Ð½ÐºÐ¸ Ð¿Ð¾ Ð·Ð°Ð¿ÑÐ¾ÑÑ &quot;Ð¿Ð¸ÐºÑÐ¾Ð³ÑÐ°Ð¼Ð¼Ð° Ð±Ð¾Ð»ÑÐ½Ð¸ÑÐ°&quot;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361" y="3141943"/>
            <a:ext cx="439349" cy="439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097810" y="3130784"/>
            <a:ext cx="422102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  <a:latin typeface="MTS Sans UltraWide" panose="02000000000000000000" pitchFamily="50" charset="0"/>
                <a:ea typeface="MTS Sans UltraWide" panose="02000000000000000000" pitchFamily="50" charset="0"/>
                <a:sym typeface="Helvetica Neue Medium"/>
              </a:rPr>
              <a:t>105 </a:t>
            </a:r>
            <a:r>
              <a:rPr lang="ru-RU" sz="2400" dirty="0">
                <a:solidFill>
                  <a:srgbClr val="C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 Medium"/>
              </a:rPr>
              <a:t>пожарных частей и т.п.</a:t>
            </a:r>
            <a:endParaRPr lang="ru-RU" sz="2400" dirty="0">
              <a:latin typeface="MTS Sans" panose="02000000000000000000" pitchFamily="50" charset="0"/>
              <a:ea typeface="MTS Sans" panose="02000000000000000000" pitchFamily="50" charset="0"/>
            </a:endParaRPr>
          </a:p>
        </p:txBody>
      </p:sp>
      <p:pic>
        <p:nvPicPr>
          <p:cNvPr id="21" name="Picture 86" descr="ÐÐ°ÑÑÐ¸Ð½ÐºÐ¸ Ð¿Ð¾ Ð·Ð°Ð¿ÑÐ¾ÑÑ &quot;Ð¿Ð¸ÐºÑÐ¾Ð³ÑÐ°Ð¼Ð¼Ð° Ð¿Ð¾Ð¶Ð°ÑÐ½Ð°Ñ&quot;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684" y="3079588"/>
            <a:ext cx="501704" cy="501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328971" y="2161772"/>
            <a:ext cx="10447660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457200" indent="-457200" defTabSz="825500" hangingPunct="0">
              <a:buClr>
                <a:srgbClr val="ED0021"/>
              </a:buClr>
              <a:buFont typeface="Wingdings" panose="05000000000000000000" pitchFamily="2" charset="2"/>
              <a:buChar char="q"/>
              <a:defRPr/>
            </a:pPr>
            <a:r>
              <a:rPr lang="ru-RU" sz="2000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"/>
              </a:rPr>
              <a:t>Контракт заключен в августе 2019 сроком на </a:t>
            </a:r>
            <a:r>
              <a:rPr lang="ru-RU" sz="2000" b="1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"/>
              </a:rPr>
              <a:t>3 года </a:t>
            </a:r>
            <a:r>
              <a:rPr lang="ru-RU" sz="2000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"/>
              </a:rPr>
              <a:t>и на сумму </a:t>
            </a:r>
            <a:r>
              <a:rPr lang="ru-RU" sz="2000" b="1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"/>
              </a:rPr>
              <a:t>700 млн. ₽</a:t>
            </a:r>
          </a:p>
          <a:p>
            <a:pPr marL="457200" indent="-457200" defTabSz="825500" hangingPunct="0">
              <a:buClr>
                <a:srgbClr val="ED0021"/>
              </a:buClr>
              <a:buFont typeface="Wingdings" panose="05000000000000000000" pitchFamily="2" charset="2"/>
              <a:buChar char="q"/>
              <a:defRPr/>
            </a:pPr>
            <a:r>
              <a:rPr lang="ru-RU" sz="2000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"/>
              </a:rPr>
              <a:t>План </a:t>
            </a:r>
            <a:r>
              <a:rPr lang="ru-RU" sz="2000" b="1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"/>
              </a:rPr>
              <a:t>825 объектов </a:t>
            </a:r>
            <a:r>
              <a:rPr lang="ru-RU" sz="2000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"/>
              </a:rPr>
              <a:t>в более чем </a:t>
            </a:r>
            <a:r>
              <a:rPr lang="ru-RU" sz="2000" b="1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"/>
              </a:rPr>
              <a:t>300</a:t>
            </a:r>
            <a:r>
              <a:rPr lang="ru-RU" sz="2000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  <a:sym typeface="Helvetica Neue"/>
              </a:rPr>
              <a:t> населенных пунктах области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59308" y="4146946"/>
            <a:ext cx="2021259" cy="13336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8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1</a:t>
            </a:r>
            <a:r>
              <a:rPr kumimoji="0" lang="ru-RU" sz="4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этап</a:t>
            </a:r>
          </a:p>
        </p:txBody>
      </p:sp>
      <p:sp>
        <p:nvSpPr>
          <p:cNvPr id="26" name="Шеврон 25"/>
          <p:cNvSpPr/>
          <p:nvPr/>
        </p:nvSpPr>
        <p:spPr>
          <a:xfrm>
            <a:off x="3569728" y="4540113"/>
            <a:ext cx="646955" cy="863196"/>
          </a:xfrm>
          <a:prstGeom prst="chevron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327547" y="5159384"/>
            <a:ext cx="916918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2019г</a:t>
            </a:r>
            <a:endParaRPr kumimoji="0" lang="ru-RU" sz="6000" b="1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282578" y="4408165"/>
            <a:ext cx="1120821" cy="9951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4400" b="1" i="0" strike="noStrike" cap="none" spc="0" normalizeH="0" baseline="0" dirty="0">
                <a:ln>
                  <a:noFill/>
                </a:ln>
                <a:solidFill>
                  <a:srgbClr val="92D05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215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b="1" dirty="0">
                <a:solidFill>
                  <a:srgbClr val="92D050"/>
                </a:solidFill>
                <a:latin typeface="+mj-lt"/>
                <a:ea typeface="+mj-ea"/>
                <a:cs typeface="+mj-cs"/>
                <a:sym typeface="Helvetica Neue"/>
              </a:rPr>
              <a:t>выполнено</a:t>
            </a:r>
            <a:endParaRPr kumimoji="0" lang="ru-RU" sz="1400" b="1" i="0" strike="noStrike" cap="none" spc="0" normalizeH="0" baseline="0" dirty="0">
              <a:ln>
                <a:noFill/>
              </a:ln>
              <a:solidFill>
                <a:srgbClr val="92D05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354843" y="4372744"/>
            <a:ext cx="1045158" cy="9951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4400" b="1" dirty="0">
                <a:solidFill>
                  <a:srgbClr val="D2A000"/>
                </a:solidFill>
                <a:latin typeface="+mj-lt"/>
                <a:ea typeface="+mj-ea"/>
                <a:cs typeface="+mj-cs"/>
                <a:sym typeface="Helvetica Neue"/>
              </a:rPr>
              <a:t>264</a:t>
            </a:r>
            <a:endParaRPr kumimoji="0" lang="ru-RU" sz="4400" b="1" i="0" strike="noStrike" cap="none" spc="0" normalizeH="0" baseline="0" dirty="0">
              <a:ln>
                <a:noFill/>
              </a:ln>
              <a:solidFill>
                <a:srgbClr val="D2A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b="1" dirty="0">
                <a:solidFill>
                  <a:srgbClr val="D2A000"/>
                </a:solidFill>
                <a:latin typeface="+mj-lt"/>
                <a:ea typeface="+mj-ea"/>
                <a:cs typeface="+mj-cs"/>
                <a:sym typeface="Helvetica Neue"/>
              </a:rPr>
              <a:t>в работе</a:t>
            </a:r>
            <a:endParaRPr kumimoji="0" lang="ru-RU" sz="1400" b="1" i="0" strike="noStrike" cap="none" spc="0" normalizeH="0" baseline="0" dirty="0">
              <a:ln>
                <a:noFill/>
              </a:ln>
              <a:solidFill>
                <a:srgbClr val="D2A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30263" y="4154909"/>
            <a:ext cx="2021259" cy="13336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0" b="1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 Neue"/>
              </a:rPr>
              <a:t>2</a:t>
            </a:r>
            <a:r>
              <a:rPr kumimoji="0" lang="ru-RU" sz="4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этап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398501" y="5167347"/>
            <a:ext cx="916919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20</a:t>
            </a:r>
            <a:r>
              <a:rPr kumimoji="0" lang="en-US" sz="2400" b="1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20</a:t>
            </a:r>
            <a:r>
              <a:rPr kumimoji="0" lang="ru-RU" sz="2400" b="1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г</a:t>
            </a:r>
            <a:endParaRPr kumimoji="0" lang="ru-RU" sz="6000" b="1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0493706" y="4372744"/>
            <a:ext cx="1234440" cy="9951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4400" b="1" dirty="0">
                <a:solidFill>
                  <a:schemeClr val="bg1">
                    <a:lumMod val="65000"/>
                  </a:schemeClr>
                </a:solidFill>
                <a:latin typeface="+mj-lt"/>
                <a:ea typeface="+mj-ea"/>
                <a:cs typeface="+mj-cs"/>
                <a:sym typeface="Helvetica Neue"/>
              </a:rPr>
              <a:t>346</a:t>
            </a:r>
            <a:endParaRPr kumimoji="0" lang="ru-RU" sz="4400" b="1" i="0" strike="noStrike" cap="none" spc="0" normalizeH="0" baseline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b="1" dirty="0">
                <a:solidFill>
                  <a:schemeClr val="bg1">
                    <a:lumMod val="65000"/>
                  </a:schemeClr>
                </a:solidFill>
                <a:latin typeface="+mj-lt"/>
                <a:ea typeface="+mj-ea"/>
                <a:cs typeface="+mj-cs"/>
                <a:sym typeface="Helvetica Neue"/>
              </a:rPr>
              <a:t>планируется</a:t>
            </a:r>
            <a:endParaRPr kumimoji="0" lang="ru-RU" sz="1400" b="1" i="0" strike="noStrike" cap="none" spc="0" normalizeH="0" baseline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461503" y="4154909"/>
            <a:ext cx="2021259" cy="13336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0" b="1" dirty="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 Neue"/>
              </a:rPr>
              <a:t>3</a:t>
            </a:r>
            <a:r>
              <a:rPr kumimoji="0" lang="ru-RU" sz="4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этап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9529741" y="5167347"/>
            <a:ext cx="916919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20</a:t>
            </a:r>
            <a:r>
              <a:rPr kumimoji="0" lang="en-US" sz="2400" b="1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21</a:t>
            </a:r>
            <a:r>
              <a:rPr kumimoji="0" lang="ru-RU" sz="2400" b="1" i="0" u="none" strike="noStrike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г</a:t>
            </a:r>
            <a:endParaRPr kumimoji="0" lang="ru-RU" sz="6000" b="1" i="0" u="none" strike="noStrike" cap="none" spc="0" normalizeH="0" baseline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5" name="Шеврон 34"/>
          <p:cNvSpPr/>
          <p:nvPr/>
        </p:nvSpPr>
        <p:spPr>
          <a:xfrm>
            <a:off x="7621432" y="4544678"/>
            <a:ext cx="646955" cy="863196"/>
          </a:xfrm>
          <a:prstGeom prst="chevron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 flipH="1">
            <a:off x="3473665" y="4080737"/>
            <a:ext cx="0" cy="1810139"/>
          </a:xfrm>
          <a:prstGeom prst="line">
            <a:avLst/>
          </a:prstGeom>
          <a:noFill/>
          <a:ln w="19050" cap="flat">
            <a:solidFill>
              <a:schemeClr val="accent1">
                <a:lumMod val="75000"/>
              </a:schemeClr>
            </a:solidFill>
            <a:prstDash val="sys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7" name="Прямая соединительная линия 36"/>
          <p:cNvCxnSpPr/>
          <p:nvPr/>
        </p:nvCxnSpPr>
        <p:spPr>
          <a:xfrm flipH="1">
            <a:off x="7498269" y="4080737"/>
            <a:ext cx="0" cy="1810139"/>
          </a:xfrm>
          <a:prstGeom prst="line">
            <a:avLst/>
          </a:prstGeom>
          <a:noFill/>
          <a:ln w="19050" cap="flat">
            <a:solidFill>
              <a:schemeClr val="accent1">
                <a:lumMod val="75000"/>
              </a:schemeClr>
            </a:solidFill>
            <a:prstDash val="sys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2290947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6036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algn="ctr" defTabSz="825500" hangingPunct="0"/>
            <a:endParaRPr kumimoji="0" lang="ru-RU" sz="1400" b="1" u="none" strike="noStrike" cap="none" spc="0" normalizeH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50" charset="0"/>
              <a:ea typeface="MTS Sans" panose="02000000000000000000" pitchFamily="50" charset="0"/>
              <a:cs typeface="Arial" panose="020B0604020202020204" pitchFamily="34" charset="0"/>
              <a:sym typeface="MTS Sans" panose="02000000000000000000" pitchFamily="50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249838" y="245226"/>
            <a:ext cx="11873336" cy="526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728663">
              <a:lnSpc>
                <a:spcPct val="95000"/>
              </a:lnSpc>
              <a:defRPr sz="2400" cap="all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2pPr>
            <a:lvl3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3pPr>
            <a:lvl4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4pPr>
            <a:lvl5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5pPr>
            <a:lvl6pPr marL="4572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6pPr>
            <a:lvl7pPr marL="9144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7pPr>
            <a:lvl8pPr marL="13716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8pPr>
            <a:lvl9pPr marL="18288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9pPr>
          </a:lstStyle>
          <a:p>
            <a:pPr>
              <a:defRPr/>
            </a:pPr>
            <a:r>
              <a:rPr lang="ru-RU" sz="3600" cap="none" dirty="0">
                <a:solidFill>
                  <a:srgbClr val="ED0021"/>
                </a:solidFill>
                <a:latin typeface="MTS Sans UltraWide" panose="02000000000000000000" pitchFamily="50" charset="0"/>
                <a:ea typeface="MTS Sans UltraWide" panose="02000000000000000000" pitchFamily="50" charset="0"/>
              </a:rPr>
              <a:t>НОВЫЕ </a:t>
            </a:r>
            <a:r>
              <a:rPr lang="ru-RU" sz="3600" cap="none" dirty="0">
                <a:solidFill>
                  <a:schemeClr val="tx1"/>
                </a:solidFill>
                <a:latin typeface="MTS Sans UltraWide" panose="02000000000000000000" pitchFamily="50" charset="0"/>
                <a:ea typeface="MTS Sans UltraWide" panose="02000000000000000000" pitchFamily="50" charset="0"/>
              </a:rPr>
              <a:t>ВОЗМОЖНОСТИ ДЛЯ БИЗНЕСА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9838" y="1293351"/>
            <a:ext cx="11017930" cy="9182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spcAft>
                <a:spcPts val="600"/>
              </a:spcAft>
              <a:buClr>
                <a:srgbClr val="ED0021"/>
              </a:buClr>
            </a:pPr>
            <a:r>
              <a:rPr lang="ru-RU" sz="2400" dirty="0">
                <a:latin typeface="MTS Sans" panose="02000000000000000000" pitchFamily="50" charset="0"/>
                <a:ea typeface="MTS Sans" panose="02000000000000000000" pitchFamily="50" charset="0"/>
                <a:sym typeface="Helvetica Neue Medium"/>
              </a:rPr>
              <a:t>Предприятия малого бизнеса смогут подключиться к интернету в более чем </a:t>
            </a:r>
            <a:r>
              <a:rPr lang="ru-RU" sz="2400" b="1" dirty="0">
                <a:latin typeface="MTS Sans" panose="02000000000000000000" pitchFamily="50" charset="0"/>
                <a:ea typeface="MTS Sans" panose="02000000000000000000" pitchFamily="50" charset="0"/>
                <a:sym typeface="Helvetica Neue Medium"/>
              </a:rPr>
              <a:t>300 населенных пунктах</a:t>
            </a:r>
            <a:r>
              <a:rPr lang="ru-RU" sz="2400" dirty="0">
                <a:latin typeface="MTS Sans" panose="02000000000000000000" pitchFamily="50" charset="0"/>
                <a:ea typeface="MTS Sans" panose="02000000000000000000" pitchFamily="50" charset="0"/>
                <a:sym typeface="Helvetica Neue Medium"/>
              </a:rPr>
              <a:t>, куда придет сеть МТС в рамках проекта СЗО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49838" y="2645303"/>
            <a:ext cx="11411220" cy="30264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b="1" dirty="0">
                <a:latin typeface="MTS Sans" panose="02000000000000000000" pitchFamily="50" charset="0"/>
                <a:ea typeface="MTS Sans" panose="02000000000000000000" pitchFamily="50" charset="0"/>
              </a:rPr>
              <a:t>ПРЕИМУЩЕСТВА и ВОЗМОЖНОСТИ:</a:t>
            </a:r>
            <a:endParaRPr lang="ru-RU" sz="2000" dirty="0">
              <a:latin typeface="MTS Sans" panose="02000000000000000000" pitchFamily="50" charset="0"/>
              <a:ea typeface="MTS Sans" panose="02000000000000000000" pitchFamily="50" charset="0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srgbClr val="ED0021"/>
              </a:buClr>
              <a:buFont typeface="Wingdings" panose="05000000000000000000" pitchFamily="2" charset="2"/>
              <a:buChar char="q"/>
            </a:pPr>
            <a:r>
              <a:rPr lang="ru-RU" sz="2000" dirty="0">
                <a:latin typeface="MTS Sans" panose="02000000000000000000" pitchFamily="50" charset="0"/>
                <a:ea typeface="MTS Sans" panose="02000000000000000000" pitchFamily="50" charset="0"/>
              </a:rPr>
              <a:t>Высокоскоростное (до 100 Мбит/сек) подключение к сети Интернет дает возможность осуществлять передачу больших объемов информации любого вида: данные, голос, видео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ED0021"/>
              </a:buClr>
              <a:buFont typeface="Wingdings" panose="05000000000000000000" pitchFamily="2" charset="2"/>
              <a:buChar char="q"/>
            </a:pPr>
            <a:r>
              <a:rPr lang="ru-RU" sz="2000" dirty="0">
                <a:latin typeface="MTS Sans" panose="02000000000000000000" pitchFamily="50" charset="0"/>
                <a:ea typeface="MTS Sans" panose="02000000000000000000" pitchFamily="50" charset="0"/>
              </a:rPr>
              <a:t>Комплексный, индивидуальный подход к каждому клиенту: возможность работы с одним контрагентом и получение счетов в одном офисе за весь комплекс услуг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srgbClr val="ED0021"/>
              </a:buClr>
              <a:buFont typeface="Wingdings" panose="05000000000000000000" pitchFamily="2" charset="2"/>
              <a:buChar char="q"/>
            </a:pPr>
            <a:r>
              <a:rPr lang="ru-RU" sz="2000" dirty="0">
                <a:latin typeface="MTS Sans" panose="02000000000000000000" pitchFamily="50" charset="0"/>
                <a:ea typeface="MTS Sans" panose="02000000000000000000" pitchFamily="50" charset="0"/>
              </a:rPr>
              <a:t>Круглосуточная выделенная линия технической поддержки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Clr>
                <a:srgbClr val="ED0021"/>
              </a:buClr>
              <a:buFont typeface="Wingdings" panose="05000000000000000000" pitchFamily="2" charset="2"/>
              <a:buChar char="q"/>
            </a:pPr>
            <a:r>
              <a:rPr lang="ru-RU" sz="2000" dirty="0">
                <a:latin typeface="MTS Sans" panose="02000000000000000000" pitchFamily="50" charset="0"/>
                <a:ea typeface="MTS Sans" panose="02000000000000000000" pitchFamily="50" charset="0"/>
              </a:rPr>
              <a:t>Стабильность и качество работы каналов связи МТС</a:t>
            </a:r>
          </a:p>
        </p:txBody>
      </p:sp>
    </p:spTree>
    <p:extLst>
      <p:ext uri="{BB962C8B-B14F-4D97-AF65-F5344CB8AC3E}">
        <p14:creationId xmlns:p14="http://schemas.microsoft.com/office/powerpoint/2010/main" val="110415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algn="ctr" defTabSz="825500" hangingPunct="0"/>
            <a:endParaRPr kumimoji="0" lang="ru-RU" sz="1400" b="1" u="none" strike="noStrike" cap="none" spc="0" normalizeH="0" dirty="0">
              <a:ln>
                <a:noFill/>
              </a:ln>
              <a:solidFill>
                <a:srgbClr val="FFFFFF"/>
              </a:solidFill>
              <a:effectLst/>
              <a:uFillTx/>
              <a:latin typeface="MTS Sans" panose="02000000000000000000" pitchFamily="50" charset="0"/>
              <a:ea typeface="MTS Sans" panose="02000000000000000000" pitchFamily="50" charset="0"/>
              <a:cs typeface="Arial" panose="020B0604020202020204" pitchFamily="34" charset="0"/>
              <a:sym typeface="MTS Sans" panose="02000000000000000000" pitchFamily="50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249838" y="245226"/>
            <a:ext cx="11873336" cy="1052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728663">
              <a:lnSpc>
                <a:spcPct val="95000"/>
              </a:lnSpc>
              <a:defRPr sz="2400" cap="all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2pPr>
            <a:lvl3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3pPr>
            <a:lvl4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4pPr>
            <a:lvl5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5pPr>
            <a:lvl6pPr marL="4572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6pPr>
            <a:lvl7pPr marL="9144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7pPr>
            <a:lvl8pPr marL="13716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8pPr>
            <a:lvl9pPr marL="18288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9pPr>
          </a:lstStyle>
          <a:p>
            <a:pPr>
              <a:defRPr/>
            </a:pPr>
            <a:r>
              <a:rPr lang="ru-RU" sz="3600" cap="none" dirty="0">
                <a:solidFill>
                  <a:srgbClr val="ED0021"/>
                </a:solidFill>
                <a:latin typeface="MTS Sans UltraWide" panose="02000000000000000000" pitchFamily="50" charset="0"/>
                <a:ea typeface="MTS Sans UltraWide" panose="02000000000000000000" pitchFamily="50" charset="0"/>
              </a:rPr>
              <a:t>НАСЕЛЕННЫЕ ПУНКТЫ </a:t>
            </a:r>
          </a:p>
          <a:p>
            <a:pPr>
              <a:defRPr/>
            </a:pPr>
            <a:r>
              <a:rPr lang="ru-RU" sz="3600" cap="none">
                <a:solidFill>
                  <a:schemeClr val="tx1"/>
                </a:solidFill>
                <a:latin typeface="MTS Sans UltraWide" panose="02000000000000000000" pitchFamily="50" charset="0"/>
                <a:ea typeface="MTS Sans UltraWide" panose="02000000000000000000" pitchFamily="50" charset="0"/>
              </a:rPr>
              <a:t>ДЛЯ ПОДКЛЮЧЕНИЯ</a:t>
            </a:r>
            <a:endParaRPr lang="ru-RU" sz="3600" cap="none" dirty="0">
              <a:solidFill>
                <a:schemeClr val="tx1"/>
              </a:solidFill>
              <a:latin typeface="MTS Sans UltraWide" panose="02000000000000000000" pitchFamily="50" charset="0"/>
              <a:ea typeface="MTS Sans UltraWide" panose="02000000000000000000" pitchFamily="50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3245783"/>
              </p:ext>
            </p:extLst>
          </p:nvPr>
        </p:nvGraphicFramePr>
        <p:xfrm>
          <a:off x="249838" y="1562893"/>
          <a:ext cx="3771900" cy="4424051"/>
        </p:xfrm>
        <a:graphic>
          <a:graphicData uri="http://schemas.openxmlformats.org/drawingml/2006/table">
            <a:tbl>
              <a:tblPr>
                <a:tableStyleId>{72833802-FEF1-4C79-8D5D-14CF1EAF98D9}</a:tableStyleId>
              </a:tblPr>
              <a:tblGrid>
                <a:gridCol w="247649">
                  <a:extLst>
                    <a:ext uri="{9D8B030D-6E8A-4147-A177-3AD203B41FA5}">
                      <a16:colId xmlns:a16="http://schemas.microsoft.com/office/drawing/2014/main" val="4189942653"/>
                    </a:ext>
                  </a:extLst>
                </a:gridCol>
                <a:gridCol w="2205133">
                  <a:extLst>
                    <a:ext uri="{9D8B030D-6E8A-4147-A177-3AD203B41FA5}">
                      <a16:colId xmlns:a16="http://schemas.microsoft.com/office/drawing/2014/main" val="727137504"/>
                    </a:ext>
                  </a:extLst>
                </a:gridCol>
                <a:gridCol w="1319118">
                  <a:extLst>
                    <a:ext uri="{9D8B030D-6E8A-4147-A177-3AD203B41FA5}">
                      <a16:colId xmlns:a16="http://schemas.microsoft.com/office/drawing/2014/main" val="3784179833"/>
                    </a:ext>
                  </a:extLst>
                </a:gridCol>
              </a:tblGrid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1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№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1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Район/округ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ru-RU" sz="1100" b="1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Населенный пункт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15306540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 err="1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Архаринский</a:t>
                      </a:r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 район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Кундур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39463083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лаговещенский район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Владимировка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83531702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лаговещенский район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Каникурган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21539478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лаговещенский район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Кантон-Коммун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05312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лаговещенский район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Новотроицкое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3109184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лаговещенский район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Ровное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64999805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 err="1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урейский</a:t>
                      </a:r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 район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Новобурейски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05270746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 err="1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урейский</a:t>
                      </a:r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 район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 dirty="0" err="1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Новорайчихинск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89511184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 err="1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урейский</a:t>
                      </a:r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 район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Широки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038747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1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Городской округ Благовещенск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елогорье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3645270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1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Городской округ Благовещенск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Чигири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40206124"/>
                  </a:ext>
                </a:extLst>
              </a:tr>
              <a:tr h="337343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1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Городской округ город Благовещенск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адовое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03188760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1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Городской округ город Свободны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вободны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9115038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1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Городской округ город Тынд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Таёжны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85316886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1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Городской округ Прогресс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Прогресс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04996863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1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Городской округ Свободны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вободны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06375050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1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 dirty="0" err="1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Завитинский</a:t>
                      </a:r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 район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Антоновка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1048352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1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Зейский район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ерегово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2684704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1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Зейский район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 dirty="0" err="1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нежногорски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03930874"/>
                  </a:ext>
                </a:extLst>
              </a:tr>
              <a:tr h="189786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2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u="none" strike="noStrike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Зейский район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основый Бор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17182497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1119909"/>
              </p:ext>
            </p:extLst>
          </p:nvPr>
        </p:nvGraphicFramePr>
        <p:xfrm>
          <a:off x="4119580" y="1562894"/>
          <a:ext cx="3962402" cy="4424050"/>
        </p:xfrm>
        <a:graphic>
          <a:graphicData uri="http://schemas.openxmlformats.org/drawingml/2006/table">
            <a:tbl>
              <a:tblPr>
                <a:tableStyleId>{72833802-FEF1-4C79-8D5D-14CF1EAF98D9}</a:tableStyleId>
              </a:tblPr>
              <a:tblGrid>
                <a:gridCol w="259116">
                  <a:extLst>
                    <a:ext uri="{9D8B030D-6E8A-4147-A177-3AD203B41FA5}">
                      <a16:colId xmlns:a16="http://schemas.microsoft.com/office/drawing/2014/main" val="4189942653"/>
                    </a:ext>
                  </a:extLst>
                </a:gridCol>
                <a:gridCol w="2074511">
                  <a:extLst>
                    <a:ext uri="{9D8B030D-6E8A-4147-A177-3AD203B41FA5}">
                      <a16:colId xmlns:a16="http://schemas.microsoft.com/office/drawing/2014/main" val="727137504"/>
                    </a:ext>
                  </a:extLst>
                </a:gridCol>
                <a:gridCol w="1628775">
                  <a:extLst>
                    <a:ext uri="{9D8B030D-6E8A-4147-A177-3AD203B41FA5}">
                      <a16:colId xmlns:a16="http://schemas.microsoft.com/office/drawing/2014/main" val="3784179833"/>
                    </a:ext>
                  </a:extLst>
                </a:gridCol>
              </a:tblGrid>
              <a:tr h="178847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1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№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1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Район/округ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ru-RU" sz="1100" b="1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Населенный пункт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15306540"/>
                  </a:ext>
                </a:extLst>
              </a:tr>
              <a:tr h="178847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2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Ив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Анно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39463083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2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Ив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Дмитрие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83531702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2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Ив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Ивано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21539478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Ив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Константиноградо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05312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2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Ив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Новоалексее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3109184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2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Ив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Петропавло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64999805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2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Ив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емиозер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05270746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2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Константи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Верхний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Урту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89511184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2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Магдагачи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Дактуй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038747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3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Октябрь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Варваро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3645270"/>
                  </a:ext>
                </a:extLst>
              </a:tr>
              <a:tr h="178847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3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Октябрь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Екатериносла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40206124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3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Октябрь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Ильино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03188760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3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Октябрь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Мухинский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9115038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3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Октябрь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Песчаноозер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85316886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3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Октябрь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Трудовой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04996863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3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Ромне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Амаран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06375050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3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Ромне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Знамен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1048352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3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Ромне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Поздее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2684704"/>
                  </a:ext>
                </a:extLst>
              </a:tr>
              <a:tr h="211618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3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Ромненский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Ромны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03930874"/>
                  </a:ext>
                </a:extLst>
              </a:tr>
              <a:tr h="290003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4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вободненский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ардагон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17182497"/>
                  </a:ext>
                </a:extLst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1338555"/>
              </p:ext>
            </p:extLst>
          </p:nvPr>
        </p:nvGraphicFramePr>
        <p:xfrm>
          <a:off x="8179824" y="1563693"/>
          <a:ext cx="3781427" cy="4423251"/>
        </p:xfrm>
        <a:graphic>
          <a:graphicData uri="http://schemas.openxmlformats.org/drawingml/2006/table">
            <a:tbl>
              <a:tblPr>
                <a:tableStyleId>{72833802-FEF1-4C79-8D5D-14CF1EAF98D9}</a:tableStyleId>
              </a:tblPr>
              <a:tblGrid>
                <a:gridCol w="381002">
                  <a:extLst>
                    <a:ext uri="{9D8B030D-6E8A-4147-A177-3AD203B41FA5}">
                      <a16:colId xmlns:a16="http://schemas.microsoft.com/office/drawing/2014/main" val="4189942653"/>
                    </a:ext>
                  </a:extLst>
                </a:gridCol>
                <a:gridCol w="1866900">
                  <a:extLst>
                    <a:ext uri="{9D8B030D-6E8A-4147-A177-3AD203B41FA5}">
                      <a16:colId xmlns:a16="http://schemas.microsoft.com/office/drawing/2014/main" val="727137504"/>
                    </a:ext>
                  </a:extLst>
                </a:gridCol>
                <a:gridCol w="1533525">
                  <a:extLst>
                    <a:ext uri="{9D8B030D-6E8A-4147-A177-3AD203B41FA5}">
                      <a16:colId xmlns:a16="http://schemas.microsoft.com/office/drawing/2014/main" val="3784179833"/>
                    </a:ext>
                  </a:extLst>
                </a:gridCol>
              </a:tblGrid>
              <a:tr h="191359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1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№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100" b="1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Район/округ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ctr" fontAlgn="b"/>
                      <a:r>
                        <a:rPr lang="ru-RU" sz="1100" b="1" u="none" strike="noStrike" dirty="0"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Населенный пункт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15306540"/>
                  </a:ext>
                </a:extLst>
              </a:tr>
              <a:tr h="191359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4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вободне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Малая Сазан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39463083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4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вободненский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Москвитино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83531702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4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вободне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Новгород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21539478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4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вободне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Новоивано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05312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4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вободне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Черно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3109184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4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ерыше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ольшая Сазан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64999805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4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ерыше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Бочкаре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05270746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4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ерыше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Озёрное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89511184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4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ерыше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Полян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2038747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5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ерыше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Томское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3645270"/>
                  </a:ext>
                </a:extLst>
              </a:tr>
              <a:tr h="191359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5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ковороди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Талдан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40206124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5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ковороди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Уруш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03188760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5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Тынди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Муртыгит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9115038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5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Тындин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Первомайское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85316886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5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Шим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Мухино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04996863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5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Шим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Новогеоргиевка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06375050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5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Шим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Свободный Труд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1048352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5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Шим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Ушаково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2684704"/>
                  </a:ext>
                </a:extLst>
              </a:tr>
              <a:tr h="22642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5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Шимановский район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MTS Sans" panose="02000000000000000000" pitchFamily="50" charset="0"/>
                          <a:ea typeface="MTS Sans" panose="02000000000000000000" pitchFamily="50" charset="0"/>
                        </a:rPr>
                        <a:t>Чагоян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MTS Sans" panose="02000000000000000000" pitchFamily="50" charset="0"/>
                        <a:ea typeface="MTS Sans" panose="02000000000000000000" pitchFamily="50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039308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2661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791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Слайд think-cell" r:id="rId5" imgW="366" imgH="367" progId="TCLayout.ActiveDocument.1">
                  <p:embed/>
                </p:oleObj>
              </mc:Choice>
              <mc:Fallback>
                <p:oleObj name="Слайд think-cell" r:id="rId5" imgW="366" imgH="367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23">
            <a:extLst>
              <a:ext uri="{FF2B5EF4-FFF2-40B4-BE49-F238E27FC236}">
                <a16:creationId xmlns:a16="http://schemas.microsoft.com/office/drawing/2014/main" id="{E22F5FCD-102C-A54E-8B2F-36359BE396E7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84" y="5502770"/>
            <a:ext cx="11490490" cy="864967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462116" y="1853295"/>
            <a:ext cx="8219768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2400" b="1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Руслан Костромин</a:t>
            </a:r>
            <a:endParaRPr lang="ru-RU" sz="3200" b="1" dirty="0">
              <a:latin typeface="MTS Sans" panose="02000000000000000000" pitchFamily="50" charset="0"/>
              <a:ea typeface="MTS Sans" panose="02000000000000000000" pitchFamily="50" charset="0"/>
            </a:endParaRPr>
          </a:p>
          <a:p>
            <a:pPr>
              <a:spcAft>
                <a:spcPts val="0"/>
              </a:spcAft>
            </a:pPr>
            <a:r>
              <a:rPr lang="ru-RU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Ведущий специалист по работе с государственными заказчиками</a:t>
            </a:r>
            <a:endParaRPr lang="ru-RU" sz="2400" dirty="0">
              <a:latin typeface="MTS Sans" panose="02000000000000000000" pitchFamily="50" charset="0"/>
              <a:ea typeface="MTS Sans" panose="02000000000000000000" pitchFamily="50" charset="0"/>
            </a:endParaRPr>
          </a:p>
          <a:p>
            <a:pPr>
              <a:spcAft>
                <a:spcPts val="0"/>
              </a:spcAft>
            </a:pPr>
            <a:r>
              <a:rPr lang="ru-RU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Функциональная группа по управлению проектом СЗО</a:t>
            </a:r>
            <a:endParaRPr lang="ru-RU" sz="2400" dirty="0">
              <a:latin typeface="MTS Sans" panose="02000000000000000000" pitchFamily="50" charset="0"/>
              <a:ea typeface="MTS Sans" panose="02000000000000000000" pitchFamily="50" charset="0"/>
            </a:endParaRPr>
          </a:p>
          <a:p>
            <a:pPr>
              <a:spcAft>
                <a:spcPts val="0"/>
              </a:spcAft>
            </a:pPr>
            <a:endParaRPr lang="ru-RU" dirty="0">
              <a:solidFill>
                <a:srgbClr val="000000"/>
              </a:solidFill>
              <a:latin typeface="MTS Sans" panose="02000000000000000000" pitchFamily="50" charset="0"/>
              <a:ea typeface="MTS Sans" panose="02000000000000000000" pitchFamily="50" charset="0"/>
            </a:endParaRPr>
          </a:p>
          <a:p>
            <a:pPr>
              <a:spcAft>
                <a:spcPts val="0"/>
              </a:spcAft>
            </a:pPr>
            <a:r>
              <a:rPr lang="ru-RU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Филиал ПАО «МТС» в г. Благовещенск</a:t>
            </a:r>
            <a:endParaRPr lang="ru-RU" sz="2400" dirty="0">
              <a:latin typeface="MTS Sans" panose="02000000000000000000" pitchFamily="50" charset="0"/>
              <a:ea typeface="MTS Sans" panose="02000000000000000000" pitchFamily="50" charset="0"/>
            </a:endParaRPr>
          </a:p>
          <a:p>
            <a:pPr>
              <a:spcAft>
                <a:spcPts val="0"/>
              </a:spcAft>
            </a:pPr>
            <a:r>
              <a:rPr lang="ru-RU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Публичное акционерное общество «Мобильные </a:t>
            </a:r>
            <a:r>
              <a:rPr lang="ru-RU" dirty="0" err="1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ТелеСистемы</a:t>
            </a:r>
            <a:r>
              <a:rPr lang="ru-RU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»</a:t>
            </a:r>
            <a:endParaRPr lang="ru-RU" sz="2400" dirty="0">
              <a:latin typeface="MTS Sans" panose="02000000000000000000" pitchFamily="50" charset="0"/>
              <a:ea typeface="MTS Sans" panose="02000000000000000000" pitchFamily="50" charset="0"/>
            </a:endParaRPr>
          </a:p>
          <a:p>
            <a:pPr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______________________________</a:t>
            </a:r>
            <a:endParaRPr lang="ru-RU" sz="2400" dirty="0">
              <a:latin typeface="MTS Sans" panose="02000000000000000000" pitchFamily="50" charset="0"/>
              <a:ea typeface="MTS Sans" panose="02000000000000000000" pitchFamily="50" charset="0"/>
            </a:endParaRPr>
          </a:p>
          <a:p>
            <a:pPr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mob: +79145576078</a:t>
            </a:r>
            <a:endParaRPr lang="ru-RU" sz="2400" dirty="0">
              <a:latin typeface="MTS Sans" panose="02000000000000000000" pitchFamily="50" charset="0"/>
              <a:ea typeface="MTS Sans" panose="02000000000000000000" pitchFamily="50" charset="0"/>
            </a:endParaRPr>
          </a:p>
          <a:p>
            <a:pPr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e-mail: </a:t>
            </a:r>
            <a:r>
              <a:rPr lang="en-US" u="sng" dirty="0">
                <a:solidFill>
                  <a:srgbClr val="ED0021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Ruslan.Kostromin@mts.ru</a:t>
            </a:r>
            <a:endParaRPr lang="ru-RU" sz="2400" dirty="0">
              <a:solidFill>
                <a:srgbClr val="ED0021"/>
              </a:solidFill>
              <a:latin typeface="MTS Sans" panose="02000000000000000000" pitchFamily="50" charset="0"/>
              <a:ea typeface="MTS Sans" panose="02000000000000000000" pitchFamily="50" charset="0"/>
            </a:endParaRPr>
          </a:p>
          <a:p>
            <a:r>
              <a:rPr lang="ru-RU" dirty="0">
                <a:solidFill>
                  <a:srgbClr val="000000"/>
                </a:solidFill>
                <a:latin typeface="MTS Sans" panose="02000000000000000000" pitchFamily="50" charset="0"/>
                <a:ea typeface="MTS Sans" panose="02000000000000000000" pitchFamily="50" charset="0"/>
              </a:rPr>
              <a:t>г. Благовещенск, ул. Театральная, д. 55</a:t>
            </a:r>
            <a:endParaRPr lang="ru-RU" dirty="0">
              <a:latin typeface="MTS Sans" panose="02000000000000000000" pitchFamily="50" charset="0"/>
              <a:ea typeface="MTS Sans" panose="02000000000000000000" pitchFamily="50" charset="0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249838" y="245226"/>
            <a:ext cx="11873336" cy="1052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728663">
              <a:lnSpc>
                <a:spcPct val="95000"/>
              </a:lnSpc>
              <a:defRPr sz="2400" cap="all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2pPr>
            <a:lvl3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3pPr>
            <a:lvl4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4pPr>
            <a:lvl5pPr defTabSz="728663">
              <a:lnSpc>
                <a:spcPct val="95000"/>
              </a:lnSpc>
              <a:defRPr sz="2400">
                <a:latin typeface="Credit Suisse Type Roman" pitchFamily="34" charset="0"/>
              </a:defRPr>
            </a:lvl5pPr>
            <a:lvl6pPr marL="4572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6pPr>
            <a:lvl7pPr marL="9144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7pPr>
            <a:lvl8pPr marL="13716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8pPr>
            <a:lvl9pPr marL="1828800" defTabSz="728663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latin typeface="Credit Suisse Type Roman" pitchFamily="34" charset="0"/>
              </a:defRPr>
            </a:lvl9pPr>
          </a:lstStyle>
          <a:p>
            <a:pPr>
              <a:defRPr/>
            </a:pPr>
            <a:r>
              <a:rPr lang="ru-RU" sz="3600" cap="none" dirty="0">
                <a:solidFill>
                  <a:schemeClr val="tx1"/>
                </a:solidFill>
                <a:latin typeface="MTS Sans UltraWide" panose="02000000000000000000" pitchFamily="50" charset="0"/>
                <a:ea typeface="MTS Sans UltraWide" panose="02000000000000000000" pitchFamily="50" charset="0"/>
              </a:rPr>
              <a:t>ПО ВОПРОСАМ ПОДКЛЮЧЕНИЯ </a:t>
            </a:r>
            <a:r>
              <a:rPr lang="ru-RU" sz="3600" cap="none" dirty="0">
                <a:solidFill>
                  <a:srgbClr val="ED0021"/>
                </a:solidFill>
                <a:latin typeface="MTS Sans UltraWide" panose="02000000000000000000" pitchFamily="50" charset="0"/>
                <a:ea typeface="MTS Sans UltraWide" panose="02000000000000000000" pitchFamily="50" charset="0"/>
              </a:rPr>
              <a:t>ОБРАЩАЙТЕСЬ:</a:t>
            </a:r>
          </a:p>
        </p:txBody>
      </p:sp>
    </p:spTree>
    <p:extLst>
      <p:ext uri="{BB962C8B-B14F-4D97-AF65-F5344CB8AC3E}">
        <p14:creationId xmlns:p14="http://schemas.microsoft.com/office/powerpoint/2010/main" val="416402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8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pW2P6kRraMy4JFcVFr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aew9F5K3GBXjGg5vIT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2tT8xHNS6R.1VtA546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2tT8xHNS6R.1VtA546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2tT8xHNS6R.1VtA546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aew9F5K3GBXjGg5vIT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6ba06VpKjbt82k_4RP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jpeg" /></Relationships>
</file>

<file path=ppt/theme/theme1.xml><?xml version="1.0" encoding="utf-8"?>
<a:theme xmlns:a="http://schemas.openxmlformats.org/drawingml/2006/main" name="2_BLACK">
  <a:themeElements>
    <a:clrScheme name="Custom 4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ED1F23"/>
      </a:accent1>
      <a:accent2>
        <a:srgbClr val="FF6969"/>
      </a:accent2>
      <a:accent3>
        <a:srgbClr val="FF8993"/>
      </a:accent3>
      <a:accent4>
        <a:srgbClr val="FAA6AC"/>
      </a:accent4>
      <a:accent5>
        <a:srgbClr val="FFCBCD"/>
      </a:accent5>
      <a:accent6>
        <a:srgbClr val="FFDBE0"/>
      </a:accent6>
      <a:hlink>
        <a:srgbClr val="FEFFF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4_BLACK">
  <a:themeElements>
    <a:clrScheme name="Custom 4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ED1F23"/>
      </a:accent1>
      <a:accent2>
        <a:srgbClr val="FF6969"/>
      </a:accent2>
      <a:accent3>
        <a:srgbClr val="FF8993"/>
      </a:accent3>
      <a:accent4>
        <a:srgbClr val="FAA6AC"/>
      </a:accent4>
      <a:accent5>
        <a:srgbClr val="FFCBCD"/>
      </a:accent5>
      <a:accent6>
        <a:srgbClr val="FFDBE0"/>
      </a:accent6>
      <a:hlink>
        <a:srgbClr val="FEFFF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Дерево">
  <a:themeElements>
    <a:clrScheme name="Дерево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Другая 1">
      <a:majorFont>
        <a:latin typeface="MTS Sans Medium"/>
        <a:ea typeface=""/>
        <a:cs typeface=""/>
      </a:majorFont>
      <a:minorFont>
        <a:latin typeface="MTS Sans"/>
        <a:ea typeface=""/>
        <a:cs typeface=""/>
      </a:minorFont>
    </a:fontScheme>
    <a:fmtScheme name="Дерево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142A1326-48AB-42A9-8428-CB14AA30176D}"/>
    </a:ext>
  </a:extLst>
</a:theme>
</file>

<file path=ppt/theme/theme4.xml><?xml version="1.0" encoding="utf-8"?>
<a:theme xmlns:a="http://schemas.openxmlformats.org/drawingml/2006/main" name="3_BLACK">
  <a:themeElements>
    <a:clrScheme name="Custom 4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ED1F23"/>
      </a:accent1>
      <a:accent2>
        <a:srgbClr val="FF6969"/>
      </a:accent2>
      <a:accent3>
        <a:srgbClr val="FF8993"/>
      </a:accent3>
      <a:accent4>
        <a:srgbClr val="FAA6AC"/>
      </a:accent4>
      <a:accent5>
        <a:srgbClr val="FFCBCD"/>
      </a:accent5>
      <a:accent6>
        <a:srgbClr val="FFDBE0"/>
      </a:accent6>
      <a:hlink>
        <a:srgbClr val="FEFFF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70</TotalTime>
  <Words>496</Words>
  <Application>Microsoft Office PowerPoint</Application>
  <PresentationFormat>Широкоэкранный</PresentationFormat>
  <Paragraphs>229</Paragraphs>
  <Slides>5</Slides>
  <Notes>5</Notes>
  <HiddenSlides>0</HiddenSlides>
  <MMClips>0</MMClips>
  <ScaleCrop>false</ScaleCrop>
  <HeadingPairs>
    <vt:vector size="4" baseType="variant">
      <vt:variant>
        <vt:lpstr>Тема</vt:lpstr>
      </vt:variant>
      <vt:variant>
        <vt:i4>4</vt:i4>
      </vt:variant>
      <vt:variant>
        <vt:lpstr>Заголовки слайдов</vt:lpstr>
      </vt:variant>
      <vt:variant>
        <vt:i4>5</vt:i4>
      </vt:variant>
    </vt:vector>
  </HeadingPairs>
  <TitlesOfParts>
    <vt:vector size="9" baseType="lpstr">
      <vt:lpstr>2_BLACK</vt:lpstr>
      <vt:lpstr>4_BLACK</vt:lpstr>
      <vt:lpstr>Дерево</vt:lpstr>
      <vt:lpstr>3_BLACK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ПАО "МТС"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murDigitalDigest</dc:title>
  <dc:creator>aalopati@mts.ru</dc:creator>
  <cp:lastModifiedBy>Неизвестный пользователь</cp:lastModifiedBy>
  <cp:revision>365</cp:revision>
  <dcterms:created xsi:type="dcterms:W3CDTF">2019-08-12T05:34:02Z</dcterms:created>
  <dcterms:modified xsi:type="dcterms:W3CDTF">2020-08-05T23:06:56Z</dcterms:modified>
</cp:coreProperties>
</file>